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  <p:sldMasterId id="2147483683" r:id="rId5"/>
    <p:sldMasterId id="2147483688" r:id="rId6"/>
  </p:sldMasterIdLst>
  <p:notesMasterIdLst>
    <p:notesMasterId r:id="rId19"/>
  </p:notesMasterIdLst>
  <p:handoutMasterIdLst>
    <p:handoutMasterId r:id="rId20"/>
  </p:handoutMasterIdLst>
  <p:sldIdLst>
    <p:sldId id="574" r:id="rId7"/>
    <p:sldId id="520" r:id="rId8"/>
    <p:sldId id="542" r:id="rId9"/>
    <p:sldId id="575" r:id="rId10"/>
    <p:sldId id="554" r:id="rId11"/>
    <p:sldId id="557" r:id="rId12"/>
    <p:sldId id="559" r:id="rId13"/>
    <p:sldId id="551" r:id="rId14"/>
    <p:sldId id="571" r:id="rId15"/>
    <p:sldId id="573" r:id="rId16"/>
    <p:sldId id="544" r:id="rId17"/>
    <p:sldId id="415" r:id="rId18"/>
  </p:sldIdLst>
  <p:sldSz cx="9144000" cy="5143500" type="screen16x9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17">
          <p15:clr>
            <a:srgbClr val="A4A3A4"/>
          </p15:clr>
        </p15:guide>
        <p15:guide id="2" orient="horz" pos="544">
          <p15:clr>
            <a:srgbClr val="A4A3A4"/>
          </p15:clr>
        </p15:guide>
        <p15:guide id="3" orient="horz" pos="1711">
          <p15:clr>
            <a:srgbClr val="A4A3A4"/>
          </p15:clr>
        </p15:guide>
        <p15:guide id="4" orient="horz" pos="1620">
          <p15:clr>
            <a:srgbClr val="A4A3A4"/>
          </p15:clr>
        </p15:guide>
        <p15:guide id="5" pos="4558">
          <p15:clr>
            <a:srgbClr val="A4A3A4"/>
          </p15:clr>
        </p15:guide>
        <p15:guide id="6" pos="55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3974">
          <p15:clr>
            <a:srgbClr val="A4A3A4"/>
          </p15:clr>
        </p15:guide>
        <p15:guide id="3" pos="3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3440"/>
    <a:srgbClr val="7E7D76"/>
    <a:srgbClr val="33CCFF"/>
    <a:srgbClr val="C07000"/>
    <a:srgbClr val="8B8807"/>
    <a:srgbClr val="1BA12B"/>
    <a:srgbClr val="1782DB"/>
    <a:srgbClr val="706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87" autoAdjust="0"/>
    <p:restoredTop sz="98046" autoAdjust="0"/>
  </p:normalViewPr>
  <p:slideViewPr>
    <p:cSldViewPr showGuides="1">
      <p:cViewPr varScale="1">
        <p:scale>
          <a:sx n="93" d="100"/>
          <a:sy n="93" d="100"/>
        </p:scale>
        <p:origin x="612" y="72"/>
      </p:cViewPr>
      <p:guideLst>
        <p:guide orient="horz" pos="3117"/>
        <p:guide orient="horz" pos="544"/>
        <p:guide orient="horz" pos="1711"/>
        <p:guide orient="horz" pos="1620"/>
        <p:guide pos="4558"/>
        <p:guide pos="55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2208" y="-300"/>
      </p:cViewPr>
      <p:guideLst>
        <p:guide orient="horz" pos="2880"/>
        <p:guide pos="3974"/>
        <p:guide pos="3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r"/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999580FB-A1A7-4BFA-8980-0CB90ED5CC13}" type="datetimeFigureOut">
              <a:rPr lang="en-US" sz="800" smtClean="0"/>
              <a:pPr algn="l"/>
              <a:t>6/6/2016</a:t>
            </a:fld>
            <a:endParaRPr lang="en-US" sz="80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D310C-11CC-44CF-B61D-C36BD5A4E9FA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800" smtClean="0"/>
              <a:t>Copyright 2011 FUJITSU</a:t>
            </a:r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5583312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fld id="{9AF53C10-58A7-45D0-B2D2-D1576F087AB5}" type="datetimeFigureOut">
              <a:rPr lang="en-US" noProof="0" smtClean="0"/>
              <a:pPr/>
              <a:t>6/6/2016</a:t>
            </a:fld>
            <a:endParaRPr lang="en-US" noProof="0"/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endParaRPr lang="en-US" noProof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noProof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84613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2BC81D3-C59B-4C63-B840-07ACB8BAB3C6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8643600"/>
            <a:ext cx="2952000" cy="5004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en-US" noProof="0" smtClean="0"/>
              <a:t>Copyright 2011 FUJITSU</a:t>
            </a:r>
            <a:endParaRPr lang="en-US" noProof="0"/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9275" y="4572000"/>
            <a:ext cx="5759450" cy="3886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24279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0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96313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Char char="n"/>
              <a:tabLst/>
              <a:defRPr/>
            </a:pPr>
            <a:r>
              <a:rPr lang="en-US" dirty="0" smtClean="0"/>
              <a:t>Inspire training</a:t>
            </a:r>
            <a:r>
              <a:rPr lang="en-US" baseline="0" dirty="0" smtClean="0"/>
              <a:t> grants points for: </a:t>
            </a:r>
          </a:p>
          <a:p>
            <a:pPr marL="0" indent="0" algn="l">
              <a:buNone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ETERNUS CS200c  Sales WBT (1) </a:t>
            </a:r>
            <a:endParaRPr lang="en-US" sz="20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ETERNUS CS200c  Pre-sales WBT (1) </a:t>
            </a:r>
            <a:endParaRPr lang="en-US" sz="20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indent="0" algn="l">
              <a:buNone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ETERNUS CS800  Sales WBT (1) </a:t>
            </a:r>
            <a:endParaRPr lang="en-US" sz="20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ETERNUS CS800  Pre-sales WBT (1) </a:t>
            </a:r>
            <a:endParaRPr lang="en-US" sz="20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ETERNUS CS800  Pre-sales (3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ETERNUS CS8000  Sales WBT (2) </a:t>
            </a:r>
            <a:endParaRPr lang="en-US" sz="20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57255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18020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80200" cy="3757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Copyright 2011 FUJITSU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285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342900" lvl="0" indent="-342900" fontAlgn="ctr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r>
              <a:rPr kumimoji="1" lang="en-US" sz="1600" kern="0" dirty="0" smtClean="0">
                <a:cs typeface="MS UI Gothic"/>
              </a:rPr>
              <a:t>Specialization will not only enhance your skills and result</a:t>
            </a:r>
            <a:r>
              <a:rPr kumimoji="1" lang="en-US" sz="1600" kern="0" baseline="0" dirty="0" smtClean="0">
                <a:cs typeface="MS UI Gothic"/>
              </a:rPr>
              <a:t> in more benefits and privileges as a Fujitsu SELECT Expert – </a:t>
            </a:r>
          </a:p>
          <a:p>
            <a:pPr marL="342900" lvl="0" indent="-342900" fontAlgn="ctr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r>
              <a:rPr kumimoji="1" lang="en-US" sz="1600" kern="0" baseline="0" dirty="0" smtClean="0">
                <a:cs typeface="MS UI Gothic"/>
              </a:rPr>
              <a:t>it empowers you to get access to better and more profitable business opportunities with extended visibility.</a:t>
            </a:r>
          </a:p>
          <a:p>
            <a:pPr marL="342900" lvl="0" indent="-342900" fontAlgn="ctr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endParaRPr kumimoji="1" lang="en-US" sz="1600" kern="0" baseline="0" dirty="0" smtClean="0">
              <a:cs typeface="MS UI Gothic"/>
            </a:endParaRP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Certification as a SELECT Expert proves your competence to prospects and customers, and helps differentiate </a:t>
            </a: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your business in a competitive marketplace. It also gives you access to bigger, more complex and projects and a larger portion </a:t>
            </a: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of customers’ IT budgets. And because your skills and capabilities will be enhanced, you will also benefit from increased customer </a:t>
            </a: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atisfaction. This creates a virtuous circle of increased awareness, enhanced capabilities, more successful projects, and positive reputation.</a:t>
            </a:r>
            <a:endParaRPr lang="de-DE" sz="160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Copyright 2012 FUJITS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55598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342900" lvl="0" indent="-342900" fontAlgn="ctr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r>
              <a:rPr kumimoji="1" lang="en-US" sz="1600" kern="0" dirty="0" smtClean="0">
                <a:cs typeface="MS UI Gothic"/>
              </a:rPr>
              <a:t>Specialization will not only enhance your skills and result</a:t>
            </a:r>
            <a:r>
              <a:rPr kumimoji="1" lang="en-US" sz="1600" kern="0" baseline="0" dirty="0" smtClean="0">
                <a:cs typeface="MS UI Gothic"/>
              </a:rPr>
              <a:t> in more benefits and privileges as a Fujitsu SELECT Expert – </a:t>
            </a:r>
          </a:p>
          <a:p>
            <a:pPr marL="342900" lvl="0" indent="-342900" fontAlgn="ctr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r>
              <a:rPr kumimoji="1" lang="en-US" sz="1600" kern="0" baseline="0" dirty="0" smtClean="0">
                <a:cs typeface="MS UI Gothic"/>
              </a:rPr>
              <a:t>it empowers you to get access to better and more profitable business opportunities with extended visibility.</a:t>
            </a:r>
          </a:p>
          <a:p>
            <a:pPr marL="342900" lvl="0" indent="-342900" fontAlgn="ctr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None/>
              <a:defRPr/>
            </a:pPr>
            <a:endParaRPr kumimoji="1" lang="en-US" sz="1600" kern="0" baseline="0" dirty="0" smtClean="0">
              <a:cs typeface="MS UI Gothic"/>
            </a:endParaRP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Certification as a SELECT Expert proves your competence to prospects and customers, and helps differentiate </a:t>
            </a: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your business in a competitive marketplace. It also gives you access to bigger, more complex and projects and a larger portion </a:t>
            </a: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of customers’ IT budgets. And because your skills and capabilities will be enhanced, you will also benefit from increased customer </a:t>
            </a:r>
          </a:p>
          <a:p>
            <a:pPr marL="342900" marR="0" lvl="0" indent="-342900" algn="l" defTabSz="914400" rtl="0" eaLnBrk="1" fontAlgn="ctr" latinLnBrk="0" hangingPunct="1">
              <a:lnSpc>
                <a:spcPct val="95000"/>
              </a:lnSpc>
              <a:spcBef>
                <a:spcPct val="5000"/>
              </a:spcBef>
              <a:spcAft>
                <a:spcPct val="10000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atisfaction. This creates a virtuous circle of increased awareness, enhanced capabilities, more successful projects, and positive reputation.</a:t>
            </a:r>
            <a:endParaRPr lang="de-DE" sz="1600" kern="1200" dirty="0" smtClean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Copyright 2012 FUJITS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8085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9448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94175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82563" marR="0" indent="-182563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Char char="n"/>
              <a:tabLst/>
              <a:defRPr/>
            </a:pPr>
            <a:r>
              <a:rPr lang="en-US" dirty="0" smtClean="0"/>
              <a:t>Courses that could be offered as VC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</a:t>
            </a:r>
            <a:r>
              <a:rPr lang="en-US" sz="1600" baseline="0" dirty="0" smtClean="0">
                <a:solidFill>
                  <a:schemeClr val="bg1"/>
                </a:solidFill>
                <a:ea typeface="MS UI Gothic" pitchFamily="34" charset="-128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Sal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</a:t>
            </a:r>
            <a:r>
              <a:rPr lang="en-US" sz="1600" baseline="0" dirty="0" smtClean="0">
                <a:solidFill>
                  <a:schemeClr val="bg1"/>
                </a:solidFill>
                <a:ea typeface="MS UI Gothic" pitchFamily="34" charset="-128"/>
              </a:rPr>
              <a:t> Pre-s</a:t>
            </a: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al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 Install and Manage ServerView</a:t>
            </a:r>
            <a:r>
              <a:rPr lang="en-US" sz="1600" baseline="0" dirty="0">
                <a:solidFill>
                  <a:schemeClr val="tx1"/>
                </a:solidFill>
                <a:ea typeface="+mn-ea"/>
              </a:rPr>
              <a:t> </a:t>
            </a:r>
            <a:endParaRPr lang="en-US" sz="1600" baseline="0" dirty="0" smtClean="0">
              <a:solidFill>
                <a:schemeClr val="tx1"/>
              </a:solidFill>
              <a:ea typeface="+mn-ea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C- and System</a:t>
            </a:r>
            <a:r>
              <a:rPr lang="en-US" sz="1600" baseline="0" dirty="0" smtClean="0">
                <a:solidFill>
                  <a:schemeClr val="bg1"/>
                </a:solidFill>
                <a:ea typeface="MS UI Gothic" pitchFamily="34" charset="-128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Architect Essentials</a:t>
            </a:r>
            <a:endParaRPr lang="en-US" sz="2000" b="1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endParaRPr lang="en-US" sz="1600" dirty="0" smtClean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8372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Courses that could be offered as VCs: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</a:t>
            </a:r>
            <a:r>
              <a:rPr lang="en-US" sz="1600" baseline="0" dirty="0" smtClean="0">
                <a:solidFill>
                  <a:schemeClr val="bg1"/>
                </a:solidFill>
                <a:ea typeface="MS UI Gothic" pitchFamily="34" charset="-128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Sal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</a:t>
            </a:r>
            <a:r>
              <a:rPr lang="en-US" sz="1600" baseline="0" dirty="0" smtClean="0">
                <a:solidFill>
                  <a:schemeClr val="bg1"/>
                </a:solidFill>
                <a:ea typeface="MS UI Gothic" pitchFamily="34" charset="-128"/>
              </a:rPr>
              <a:t> Pre-s</a:t>
            </a: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al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 Install and Manage ServerView</a:t>
            </a:r>
            <a:r>
              <a:rPr lang="en-US" sz="1600" baseline="0" dirty="0" smtClean="0">
                <a:solidFill>
                  <a:schemeClr val="tx1"/>
                </a:solidFill>
                <a:ea typeface="+mn-ea"/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PRIMEFLEX IT Infrastructure Solutions Sa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FLEX IT Infrastructure Solutions Pre-sales</a:t>
            </a:r>
          </a:p>
          <a:p>
            <a:pPr marL="0" indent="0" algn="l">
              <a:buNone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 Install and Manage Hyper V &amp; </a:t>
            </a:r>
            <a:r>
              <a:rPr lang="en-US" sz="1600" dirty="0" err="1" smtClean="0">
                <a:solidFill>
                  <a:schemeClr val="bg1"/>
                </a:solidFill>
                <a:ea typeface="MS UI Gothic" pitchFamily="34" charset="-128"/>
              </a:rPr>
              <a:t>CiB</a:t>
            </a:r>
            <a:endParaRPr lang="en-US" sz="16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indent="0" algn="l">
              <a:buNone/>
            </a:pP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PRIMERGY Install and Manage vSphere, </a:t>
            </a:r>
            <a:r>
              <a:rPr lang="en-US" sz="800" dirty="0" err="1" smtClean="0">
                <a:solidFill>
                  <a:schemeClr val="bg1"/>
                </a:solidFill>
                <a:ea typeface="MS UI Gothic" pitchFamily="34" charset="-128"/>
              </a:rPr>
              <a:t>vSOM</a:t>
            </a: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 and </a:t>
            </a:r>
            <a:r>
              <a:rPr lang="en-US" sz="800" dirty="0" err="1" smtClean="0">
                <a:solidFill>
                  <a:schemeClr val="bg1"/>
                </a:solidFill>
                <a:ea typeface="MS UI Gothic" pitchFamily="34" charset="-128"/>
              </a:rPr>
              <a:t>vSAN</a:t>
            </a: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 within PY Ecosystem</a:t>
            </a:r>
          </a:p>
          <a:p>
            <a:pPr marL="0" indent="0" algn="l">
              <a:buNone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 Blade Pre-sales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 Blade Installation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RGY Blade Installation Advanced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FLEX for VMWare EVO:RAIL &amp; VSAN Sales</a:t>
            </a:r>
          </a:p>
          <a:p>
            <a:pPr marL="0" indent="0" algn="l">
              <a:buNone/>
            </a:pPr>
            <a:r>
              <a:rPr lang="en-US" sz="1600" dirty="0" smtClean="0">
                <a:solidFill>
                  <a:schemeClr val="bg1"/>
                </a:solidFill>
                <a:ea typeface="MS UI Gothic" pitchFamily="34" charset="-128"/>
              </a:rPr>
              <a:t>PRIMEFLEX for VMWare EVO:RAIL &amp; VSAN Pre-sal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endParaRPr lang="en-US" sz="16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endParaRPr lang="en-US" sz="16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indent="0" algn="l">
              <a:buNone/>
            </a:pPr>
            <a:endParaRPr lang="en-US" sz="16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182563" indent="-182563" algn="l"/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05879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Inspire training</a:t>
            </a:r>
            <a:r>
              <a:rPr lang="en-US" baseline="0" dirty="0" smtClean="0"/>
              <a:t> grants points for: </a:t>
            </a:r>
          </a:p>
          <a:p>
            <a:pPr marL="0" indent="0">
              <a:buNone/>
            </a:pP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ETERNUS DX Entry and Midrange Sales WBT (1) </a:t>
            </a:r>
            <a:endParaRPr lang="en-US" sz="1800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indent="0">
              <a:buNone/>
            </a:pP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ETERNUS DX Entry and Midrange Pre-sales WBT (1) </a:t>
            </a:r>
          </a:p>
          <a:p>
            <a:pPr marL="0" indent="0">
              <a:buNone/>
            </a:pP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ETERNUS DX Software Sales WBT (2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1800" dirty="0" smtClean="0">
                <a:solidFill>
                  <a:schemeClr val="bg1"/>
                </a:solidFill>
                <a:ea typeface="MS UI Gothic" pitchFamily="34" charset="-128"/>
              </a:rPr>
              <a:t>ETERNUS DX Software Pre-sales WBT (2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4800" dirty="0" smtClean="0">
                <a:solidFill>
                  <a:schemeClr val="bg1"/>
                </a:solidFill>
                <a:ea typeface="MS UI Gothic" pitchFamily="34" charset="-128"/>
              </a:rPr>
              <a:t>ETERNUS DX Entry and Midrange Pre-sales f2f (3)</a:t>
            </a:r>
            <a:r>
              <a:rPr lang="en-US" sz="4800" baseline="0" dirty="0" smtClean="0">
                <a:solidFill>
                  <a:schemeClr val="bg1"/>
                </a:solidFill>
                <a:ea typeface="MS UI Gothic" pitchFamily="34" charset="-128"/>
              </a:rPr>
              <a:t> </a:t>
            </a:r>
            <a:r>
              <a:rPr lang="en-US" sz="4800" dirty="0" smtClean="0">
                <a:solidFill>
                  <a:schemeClr val="bg1"/>
                </a:solidFill>
                <a:ea typeface="MS UI Gothic" pitchFamily="34" charset="-128"/>
              </a:rPr>
              <a:t>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r>
              <a:rPr lang="en-US" sz="4800" dirty="0" smtClean="0">
                <a:solidFill>
                  <a:schemeClr val="bg1"/>
                </a:solidFill>
                <a:ea typeface="MS UI Gothic" pitchFamily="34" charset="-128"/>
              </a:rPr>
              <a:t>ETERNUS DX </a:t>
            </a:r>
            <a:r>
              <a:rPr lang="en-US" sz="4800" dirty="0" err="1" smtClean="0">
                <a:solidFill>
                  <a:schemeClr val="bg1"/>
                </a:solidFill>
                <a:ea typeface="MS UI Gothic" pitchFamily="34" charset="-128"/>
              </a:rPr>
              <a:t>Entrerprise</a:t>
            </a:r>
            <a:r>
              <a:rPr lang="en-US" sz="4800" dirty="0" smtClean="0">
                <a:solidFill>
                  <a:schemeClr val="bg1"/>
                </a:solidFill>
                <a:ea typeface="MS UI Gothic" pitchFamily="34" charset="-128"/>
              </a:rPr>
              <a:t> Sales WBT (3)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516"/>
              </a:spcBef>
              <a:spcAft>
                <a:spcPts val="288"/>
              </a:spcAft>
              <a:buClr>
                <a:schemeClr val="accent2"/>
              </a:buClr>
              <a:buSzTx/>
              <a:buFont typeface="Wingdings" pitchFamily="2" charset="2"/>
              <a:buNone/>
              <a:tabLst/>
              <a:defRPr/>
            </a:pPr>
            <a:endParaRPr lang="en-US" sz="4800" b="1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indent="0">
              <a:buNone/>
            </a:pPr>
            <a:endParaRPr lang="en-US" sz="1800" b="1" dirty="0" smtClean="0">
              <a:solidFill>
                <a:schemeClr val="bg1"/>
              </a:solidFill>
              <a:ea typeface="MS UI Gothic" pitchFamily="34" charset="-12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9337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7.jpeg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PDBHAUSDORFK\Desktop\Headerbanner-countries.jpg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17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noProof="0" smtClean="0">
              <a:solidFill>
                <a:schemeClr val="tx1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39984" y="3435846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chemeClr val="tx1"/>
              </a:solidFill>
            </a:endParaRPr>
          </a:p>
        </p:txBody>
      </p:sp>
      <p:pic>
        <p:nvPicPr>
          <p:cNvPr id="1026" name="Picture 2" descr="Fujitsu_Logo_white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64185" y="243040"/>
            <a:ext cx="1252800" cy="62617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3978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</a:t>
            </a:r>
            <a:r>
              <a:rPr lang="en-GB" sz="4400" dirty="0" err="1" smtClean="0">
                <a:solidFill>
                  <a:srgbClr val="FFFFFF"/>
                </a:solidFill>
              </a:rPr>
              <a:t>durch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Klicken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mtClean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29731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3375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90490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73255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38566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414994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3551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8877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59575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21" name="Picture 3" descr="Fujitsu_Logo"/>
          <p:cNvPicPr>
            <a:picLocks noChangeAspect="1" noChangeArrowheads="1"/>
          </p:cNvPicPr>
          <p:nvPr userDrawn="1"/>
        </p:nvPicPr>
        <p:blipFill>
          <a:blip r:embed="rId3" cstate="print"/>
          <a:srcRect b="20259"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345332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46573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34741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13372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23011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86279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04174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34648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17615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43331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90234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6298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19138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5572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00233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63924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563638"/>
            <a:ext cx="8642346" cy="1584193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de-DE" noProof="0" smtClean="0"/>
              <a:t>Bild durch Klicken auf Symbol hinzufügen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18919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8028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noProof="0"/>
          </a:p>
        </p:txBody>
      </p:sp>
      <p:pic>
        <p:nvPicPr>
          <p:cNvPr id="41" name="Picture 2" descr="Fujitsu_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55510" y="1357200"/>
            <a:ext cx="4202009" cy="21002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  <a:defRPr/>
            </a:pPr>
            <a:r>
              <a:rPr lang="en-GB" sz="4400" dirty="0" smtClean="0">
                <a:solidFill>
                  <a:srgbClr val="FFFFFF"/>
                </a:solidFill>
              </a:rPr>
              <a:t>Titelmasterformat </a:t>
            </a:r>
            <a:r>
              <a:rPr lang="en-GB" sz="4400" dirty="0" err="1" smtClean="0">
                <a:solidFill>
                  <a:srgbClr val="FFFFFF"/>
                </a:solidFill>
              </a:rPr>
              <a:t>durch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Klicken</a:t>
            </a:r>
            <a:r>
              <a:rPr lang="en-GB" sz="4400" dirty="0" smtClean="0">
                <a:solidFill>
                  <a:srgbClr val="FFFFFF"/>
                </a:solidFill>
              </a:rPr>
              <a:t> </a:t>
            </a:r>
            <a:r>
              <a:rPr lang="en-GB" sz="4400" dirty="0" err="1" smtClean="0">
                <a:solidFill>
                  <a:srgbClr val="FFFFFF"/>
                </a:solidFill>
              </a:rPr>
              <a:t>bearbeiten</a:t>
            </a:r>
            <a:endParaRPr lang="en-GB" sz="4400" dirty="0">
              <a:solidFill>
                <a:srgbClr val="FFFFFF"/>
              </a:solidFill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defTabSz="457200">
              <a:spcBef>
                <a:spcPct val="0"/>
              </a:spcBef>
              <a:spcAft>
                <a:spcPct val="0"/>
              </a:spcAft>
            </a:pPr>
            <a:r>
              <a:rPr lang="de-DE" sz="2400" smtClean="0">
                <a:solidFill>
                  <a:srgbClr val="000000"/>
                </a:solidFill>
              </a:rPr>
              <a:t>Formatvorlage des Untertitelmasters durch Klicken bearbeiten</a:t>
            </a:r>
            <a:endParaRPr lang="en-GB" sz="2400">
              <a:solidFill>
                <a:srgbClr val="000000"/>
              </a:solidFill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mtClean="0">
              <a:solidFill>
                <a:srgbClr val="000000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198222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GB" noProof="0" dirty="0"/>
          </a:p>
        </p:txBody>
      </p:sp>
      <p:sp>
        <p:nvSpPr>
          <p:cNvPr id="47" name="Rectangle 46"/>
          <p:cNvSpPr/>
          <p:nvPr userDrawn="1"/>
        </p:nvSpPr>
        <p:spPr>
          <a:xfrm>
            <a:off x="0" y="4813200"/>
            <a:ext cx="9144000" cy="14402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de-DE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897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2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3355694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GB" noProof="0" dirty="0"/>
          </a:p>
        </p:txBody>
      </p:sp>
      <p:sp>
        <p:nvSpPr>
          <p:cNvPr id="5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4 FUJITSU</a:t>
            </a:r>
          </a:p>
        </p:txBody>
      </p:sp>
    </p:spTree>
    <p:extLst>
      <p:ext uri="{BB962C8B-B14F-4D97-AF65-F5344CB8AC3E}">
        <p14:creationId xmlns:p14="http://schemas.microsoft.com/office/powerpoint/2010/main" val="1302542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image" Target="../media/image1.jpeg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/>
          </a:p>
        </p:txBody>
      </p:sp>
      <p:sp>
        <p:nvSpPr>
          <p:cNvPr id="7" name="VCT_Marker_ID_7" hidden="1"/>
          <p:cNvSpPr/>
          <p:nvPr>
            <p:custDataLst>
              <p:tags r:id="rId8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/>
          </a:p>
        </p:txBody>
      </p:sp>
      <p:pic>
        <p:nvPicPr>
          <p:cNvPr id="21" name="Picture 3" descr="Fujitsu_Logo"/>
          <p:cNvPicPr>
            <a:picLocks noChangeAspect="1" noChangeArrowheads="1"/>
          </p:cNvPicPr>
          <p:nvPr/>
        </p:nvPicPr>
        <p:blipFill>
          <a:blip r:embed="rId11" cstate="print"/>
          <a:srcRect b="20259"/>
          <a:stretch>
            <a:fillRect/>
          </a:stretch>
        </p:blipFill>
        <p:spPr bwMode="auto">
          <a:xfrm>
            <a:off x="7664790" y="243040"/>
            <a:ext cx="1252195" cy="499082"/>
          </a:xfrm>
          <a:prstGeom prst="rect">
            <a:avLst/>
          </a:prstGeom>
          <a:noFill/>
        </p:spPr>
      </p:pic>
      <p:sp>
        <p:nvSpPr>
          <p:cNvPr id="11" name="Rectangle 21"/>
          <p:cNvSpPr/>
          <p:nvPr/>
        </p:nvSpPr>
        <p:spPr bwMode="gray">
          <a:xfrm>
            <a:off x="4928400" y="4935600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r>
              <a:rPr kumimoji="0" lang="en-US" altLang="ja-JP" sz="800" kern="1200" noProof="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t>© FUJITSU </a:t>
            </a:r>
            <a:r>
              <a:rPr kumimoji="0" lang="en-US" altLang="ja-JP" sz="800" kern="1200" baseline="0" noProof="0" dirty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t>2015</a:t>
            </a:r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  <p:sldLayoutId id="2147483660" r:id="rId3"/>
    <p:sldLayoutId id="2147483654" r:id="rId4"/>
    <p:sldLayoutId id="2147483659" r:id="rId5"/>
    <p:sldLayoutId id="2147483655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6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11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>
                <a:solidFill>
                  <a:srgbClr val="000000"/>
                </a:solidFill>
              </a:rPr>
              <a:t>Copyright 2014 FUJITSU</a:t>
            </a: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30" name="Group 29"/>
          <p:cNvGrpSpPr>
            <a:grpSpLocks noChangeAspect="1"/>
          </p:cNvGrpSpPr>
          <p:nvPr/>
        </p:nvGrpSpPr>
        <p:grpSpPr bwMode="auto">
          <a:xfrm>
            <a:off x="198562" y="4979658"/>
            <a:ext cx="1412502" cy="146280"/>
            <a:chOff x="126" y="4200"/>
            <a:chExt cx="976" cy="86"/>
          </a:xfrm>
        </p:grpSpPr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126" y="4203"/>
              <a:ext cx="976" cy="82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auto">
            <a:xfrm>
              <a:off x="331" y="4200"/>
              <a:ext cx="423" cy="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b="1" dirty="0" smtClean="0">
                  <a:solidFill>
                    <a:srgbClr val="B72C15"/>
                  </a:solidFill>
                  <a:latin typeface="Fujitsu Sans" pitchFamily="34" charset="0"/>
                </a:rPr>
                <a:t>FTS PUBLIC</a:t>
              </a:r>
              <a:endParaRPr lang="de-DE" sz="1000" b="1" dirty="0" smtClean="0">
                <a:solidFill>
                  <a:srgbClr val="000000"/>
                </a:solidFill>
                <a:latin typeface="Fujitsu Sans" pitchFamily="34" charset="0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164" y="4214"/>
              <a:ext cx="87" cy="63"/>
            </a:xfrm>
            <a:custGeom>
              <a:avLst/>
              <a:gdLst>
                <a:gd name="T0" fmla="*/ 0 w 592"/>
                <a:gd name="T1" fmla="*/ 296 h 592"/>
                <a:gd name="T2" fmla="*/ 296 w 592"/>
                <a:gd name="T3" fmla="*/ 0 h 592"/>
                <a:gd name="T4" fmla="*/ 592 w 592"/>
                <a:gd name="T5" fmla="*/ 296 h 592"/>
                <a:gd name="T6" fmla="*/ 296 w 592"/>
                <a:gd name="T7" fmla="*/ 592 h 592"/>
                <a:gd name="T8" fmla="*/ 0 w 592"/>
                <a:gd name="T9" fmla="*/ 296 h 592"/>
                <a:gd name="T10" fmla="*/ 477 w 592"/>
                <a:gd name="T11" fmla="*/ 425 h 592"/>
                <a:gd name="T12" fmla="*/ 518 w 592"/>
                <a:gd name="T13" fmla="*/ 296 h 592"/>
                <a:gd name="T14" fmla="*/ 296 w 592"/>
                <a:gd name="T15" fmla="*/ 74 h 592"/>
                <a:gd name="T16" fmla="*/ 167 w 592"/>
                <a:gd name="T17" fmla="*/ 115 h 592"/>
                <a:gd name="T18" fmla="*/ 477 w 592"/>
                <a:gd name="T19" fmla="*/ 425 h 592"/>
                <a:gd name="T20" fmla="*/ 115 w 592"/>
                <a:gd name="T21" fmla="*/ 168 h 592"/>
                <a:gd name="T22" fmla="*/ 74 w 592"/>
                <a:gd name="T23" fmla="*/ 296 h 592"/>
                <a:gd name="T24" fmla="*/ 296 w 592"/>
                <a:gd name="T25" fmla="*/ 518 h 592"/>
                <a:gd name="T26" fmla="*/ 425 w 592"/>
                <a:gd name="T27" fmla="*/ 477 h 592"/>
                <a:gd name="T28" fmla="*/ 115 w 592"/>
                <a:gd name="T29" fmla="*/ 16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592">
                  <a:moveTo>
                    <a:pt x="0" y="296"/>
                  </a:moveTo>
                  <a:cubicBezTo>
                    <a:pt x="0" y="133"/>
                    <a:pt x="133" y="0"/>
                    <a:pt x="296" y="0"/>
                  </a:cubicBezTo>
                  <a:cubicBezTo>
                    <a:pt x="459" y="0"/>
                    <a:pt x="592" y="133"/>
                    <a:pt x="592" y="296"/>
                  </a:cubicBezTo>
                  <a:cubicBezTo>
                    <a:pt x="592" y="460"/>
                    <a:pt x="459" y="592"/>
                    <a:pt x="296" y="592"/>
                  </a:cubicBezTo>
                  <a:cubicBezTo>
                    <a:pt x="133" y="592"/>
                    <a:pt x="0" y="460"/>
                    <a:pt x="0" y="296"/>
                  </a:cubicBezTo>
                  <a:close/>
                  <a:moveTo>
                    <a:pt x="477" y="425"/>
                  </a:moveTo>
                  <a:cubicBezTo>
                    <a:pt x="503" y="387"/>
                    <a:pt x="518" y="342"/>
                    <a:pt x="518" y="296"/>
                  </a:cubicBezTo>
                  <a:cubicBezTo>
                    <a:pt x="518" y="174"/>
                    <a:pt x="418" y="74"/>
                    <a:pt x="296" y="74"/>
                  </a:cubicBezTo>
                  <a:cubicBezTo>
                    <a:pt x="250" y="74"/>
                    <a:pt x="205" y="89"/>
                    <a:pt x="167" y="115"/>
                  </a:cubicBezTo>
                  <a:lnTo>
                    <a:pt x="477" y="425"/>
                  </a:lnTo>
                  <a:close/>
                  <a:moveTo>
                    <a:pt x="115" y="168"/>
                  </a:moveTo>
                  <a:cubicBezTo>
                    <a:pt x="88" y="205"/>
                    <a:pt x="74" y="250"/>
                    <a:pt x="74" y="296"/>
                  </a:cubicBezTo>
                  <a:cubicBezTo>
                    <a:pt x="74" y="419"/>
                    <a:pt x="173" y="518"/>
                    <a:pt x="296" y="518"/>
                  </a:cubicBezTo>
                  <a:cubicBezTo>
                    <a:pt x="342" y="518"/>
                    <a:pt x="387" y="504"/>
                    <a:pt x="425" y="477"/>
                  </a:cubicBezTo>
                  <a:lnTo>
                    <a:pt x="115" y="168"/>
                  </a:lnTo>
                  <a:close/>
                </a:path>
              </a:pathLst>
            </a:custGeom>
            <a:solidFill>
              <a:srgbClr val="B72C1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126" y="4203"/>
              <a:ext cx="976" cy="83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>
                <a:ln w="57150"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5253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29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lang="en-US" altLang="ja-JP" sz="800" smtClean="0">
                <a:solidFill>
                  <a:srgbClr val="000000"/>
                </a:solidFill>
                <a:ea typeface="ＭＳ Ｐゴシック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800" dirty="0" smtClean="0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gray">
          <a:xfrm>
            <a:off x="250825" y="987425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" name="Footer Placeholder 110"/>
          <p:cNvSpPr txBox="1">
            <a:spLocks/>
          </p:cNvSpPr>
          <p:nvPr/>
        </p:nvSpPr>
        <p:spPr>
          <a:xfrm>
            <a:off x="4932040" y="4933384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>
                <a:solidFill>
                  <a:srgbClr val="000000"/>
                </a:solidFill>
              </a:rPr>
              <a:t>© 2015 FUJITSU</a:t>
            </a:r>
          </a:p>
        </p:txBody>
      </p:sp>
    </p:spTree>
    <p:extLst>
      <p:ext uri="{BB962C8B-B14F-4D97-AF65-F5344CB8AC3E}">
        <p14:creationId xmlns:p14="http://schemas.microsoft.com/office/powerpoint/2010/main" val="483919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3.jpe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5.xml"/><Relationship Id="rId7" Type="http://schemas.openxmlformats.org/officeDocument/2006/relationships/image" Target="../media/image9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9.jpe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jpe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jpe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udistunut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1" dirty="0" err="1" smtClean="0"/>
              <a:t>Fujitsun</a:t>
            </a:r>
            <a:r>
              <a:rPr lang="en-US" b="1" dirty="0" smtClean="0"/>
              <a:t> SELECT </a:t>
            </a:r>
            <a:r>
              <a:rPr lang="en-US" b="1" dirty="0"/>
              <a:t>Partner </a:t>
            </a:r>
            <a:r>
              <a:rPr lang="en-US" dirty="0" smtClean="0"/>
              <a:t>-</a:t>
            </a:r>
            <a:r>
              <a:rPr lang="en-US" dirty="0" err="1" smtClean="0"/>
              <a:t>kumppaniohjelma</a:t>
            </a:r>
            <a:r>
              <a:rPr lang="en-US" dirty="0"/>
              <a:t/>
            </a:r>
            <a:br>
              <a:rPr lang="en-US" dirty="0"/>
            </a:br>
            <a:r>
              <a:rPr lang="en-US" i="1" dirty="0" err="1" smtClean="0"/>
              <a:t>Osaamista</a:t>
            </a:r>
            <a:r>
              <a:rPr lang="en-US" i="1" dirty="0" smtClean="0"/>
              <a:t> ja </a:t>
            </a:r>
            <a:r>
              <a:rPr lang="en-US" i="1" dirty="0" err="1" smtClean="0"/>
              <a:t>hyötyjä</a:t>
            </a:r>
            <a:endParaRPr lang="en-GB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3435846"/>
            <a:ext cx="8642926" cy="1296144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Fujitsu Finland </a:t>
            </a:r>
            <a:r>
              <a:rPr lang="en-US" sz="1400" dirty="0" err="1" smtClean="0">
                <a:solidFill>
                  <a:schemeClr val="tx1"/>
                </a:solidFill>
              </a:rPr>
              <a:t>Oy</a:t>
            </a:r>
            <a:endParaRPr lang="en-US" sz="1400" dirty="0" smtClean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Product Business Unit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Channel Sale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FY2015-16 </a:t>
            </a:r>
            <a:endParaRPr lang="en-GB" sz="1400" dirty="0">
              <a:solidFill>
                <a:schemeClr val="tx1"/>
              </a:solidFill>
            </a:endParaRPr>
          </a:p>
        </p:txBody>
      </p:sp>
      <p:pic>
        <p:nvPicPr>
          <p:cNvPr id="4" name="Picture 35" descr="Full screen previe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3435846"/>
            <a:ext cx="1296144" cy="1326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3657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 smtClean="0"/>
              <a:t> </a:t>
            </a:r>
            <a:r>
              <a:rPr lang="de-DE" dirty="0" err="1" smtClean="0"/>
              <a:t>Varmistusratkaisut</a:t>
            </a:r>
            <a:r>
              <a:rPr lang="de-DE" dirty="0" smtClean="0"/>
              <a:t> </a:t>
            </a:r>
            <a:r>
              <a:rPr lang="de-DE" sz="1800" dirty="0" smtClean="0"/>
              <a:t>(</a:t>
            </a:r>
            <a:r>
              <a:rPr lang="de-DE" sz="1800" dirty="0" err="1" smtClean="0"/>
              <a:t>vaihtoehto</a:t>
            </a:r>
            <a:r>
              <a:rPr lang="de-DE" sz="1800" dirty="0" smtClean="0"/>
              <a:t> 2)</a:t>
            </a:r>
            <a:endParaRPr lang="de-DE" dirty="0"/>
          </a:p>
        </p:txBody>
      </p:sp>
      <p:sp>
        <p:nvSpPr>
          <p:cNvPr id="86" name="AutoShape 36"/>
          <p:cNvSpPr>
            <a:spLocks noChangeArrowheads="1"/>
          </p:cNvSpPr>
          <p:nvPr/>
        </p:nvSpPr>
        <p:spPr bwMode="auto">
          <a:xfrm>
            <a:off x="232400" y="1043704"/>
            <a:ext cx="8660080" cy="3544270"/>
          </a:xfrm>
          <a:prstGeom prst="roundRect">
            <a:avLst>
              <a:gd name="adj" fmla="val 3898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257477" y="1611369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251519" y="2714746"/>
            <a:ext cx="799288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257477" y="3794866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cxnSp>
        <p:nvCxnSpPr>
          <p:cNvPr id="109" name="Gerade Verbindung 108"/>
          <p:cNvCxnSpPr/>
          <p:nvPr/>
        </p:nvCxnSpPr>
        <p:spPr bwMode="auto">
          <a:xfrm>
            <a:off x="2768836" y="1192579"/>
            <a:ext cx="0" cy="358900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Gerade Verbindung 115"/>
          <p:cNvCxnSpPr/>
          <p:nvPr/>
        </p:nvCxnSpPr>
        <p:spPr bwMode="auto">
          <a:xfrm>
            <a:off x="4932040" y="1176994"/>
            <a:ext cx="0" cy="353983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Rectangle 32"/>
          <p:cNvSpPr>
            <a:spLocks noChangeArrowheads="1"/>
          </p:cNvSpPr>
          <p:nvPr/>
        </p:nvSpPr>
        <p:spPr bwMode="auto">
          <a:xfrm>
            <a:off x="8280472" y="1475752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Sales Professionals</a:t>
            </a:r>
          </a:p>
        </p:txBody>
      </p:sp>
      <p:sp>
        <p:nvSpPr>
          <p:cNvPr id="129" name="Rectangle 32"/>
          <p:cNvSpPr>
            <a:spLocks noChangeArrowheads="1"/>
          </p:cNvSpPr>
          <p:nvPr/>
        </p:nvSpPr>
        <p:spPr bwMode="auto">
          <a:xfrm>
            <a:off x="8280472" y="2530954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PreSales Consultants</a:t>
            </a:r>
          </a:p>
        </p:txBody>
      </p:sp>
      <p:sp>
        <p:nvSpPr>
          <p:cNvPr id="130" name="Rectangle 32"/>
          <p:cNvSpPr>
            <a:spLocks noChangeArrowheads="1"/>
          </p:cNvSpPr>
          <p:nvPr/>
        </p:nvSpPr>
        <p:spPr bwMode="auto">
          <a:xfrm>
            <a:off x="8280472" y="3586156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a typeface="MS UI Gothic" pitchFamily="34" charset="-128"/>
              </a:rPr>
              <a:t>System Engineers</a:t>
            </a:r>
            <a:endParaRPr lang="en-US" sz="1000" b="1" dirty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80" name="Rechteck 20"/>
          <p:cNvSpPr/>
          <p:nvPr/>
        </p:nvSpPr>
        <p:spPr bwMode="auto">
          <a:xfrm>
            <a:off x="8280472" y="1097851"/>
            <a:ext cx="540000" cy="3240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8C8C8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r>
              <a:rPr lang="de-DE" sz="2000" b="1" dirty="0">
                <a:solidFill>
                  <a:srgbClr val="CC0000"/>
                </a:solidFill>
                <a:latin typeface="Arial" charset="0"/>
                <a:ea typeface="MS UI Gothic" pitchFamily="50" charset="-128"/>
              </a:rPr>
              <a:t>9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1106670" y="1452513"/>
            <a:ext cx="648000" cy="900000"/>
            <a:chOff x="395536" y="1324375"/>
            <a:chExt cx="648000" cy="900000"/>
          </a:xfrm>
        </p:grpSpPr>
        <p:sp>
          <p:nvSpPr>
            <p:cNvPr id="11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S200c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77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10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6" name="Gruppieren 25"/>
          <p:cNvGrpSpPr/>
          <p:nvPr/>
        </p:nvGrpSpPr>
        <p:grpSpPr>
          <a:xfrm>
            <a:off x="1835696" y="1463706"/>
            <a:ext cx="648000" cy="900000"/>
            <a:chOff x="3647552" y="1333327"/>
            <a:chExt cx="648000" cy="900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72" name="Rectangle 35"/>
            <p:cNvSpPr>
              <a:spLocks noChangeArrowheads="1"/>
            </p:cNvSpPr>
            <p:nvPr/>
          </p:nvSpPr>
          <p:spPr bwMode="auto">
            <a:xfrm>
              <a:off x="3647552" y="1333327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S800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4079552" y="2089327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2" y="2080375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0" name="Gruppieren 29"/>
          <p:cNvGrpSpPr/>
          <p:nvPr/>
        </p:nvGrpSpPr>
        <p:grpSpPr>
          <a:xfrm>
            <a:off x="1100830" y="2552920"/>
            <a:ext cx="648000" cy="900000"/>
            <a:chOff x="2123801" y="2424782"/>
            <a:chExt cx="648000" cy="900000"/>
          </a:xfrm>
        </p:grpSpPr>
        <p:sp>
          <p:nvSpPr>
            <p:cNvPr id="74" name="Rectangle 35"/>
            <p:cNvSpPr>
              <a:spLocks noChangeArrowheads="1"/>
            </p:cNvSpPr>
            <p:nvPr/>
          </p:nvSpPr>
          <p:spPr bwMode="auto">
            <a:xfrm>
              <a:off x="2123801" y="2424782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S800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e-sales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4" name="Rectangle 33"/>
            <p:cNvSpPr>
              <a:spLocks noChangeArrowheads="1"/>
            </p:cNvSpPr>
            <p:nvPr/>
          </p:nvSpPr>
          <p:spPr bwMode="auto">
            <a:xfrm>
              <a:off x="2555801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</a:p>
          </p:txBody>
        </p:sp>
        <p:pic>
          <p:nvPicPr>
            <p:cNvPr id="154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23801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6624248" y="4804014"/>
            <a:ext cx="1906572" cy="144000"/>
            <a:chOff x="6624248" y="4781587"/>
            <a:chExt cx="1906572" cy="144000"/>
          </a:xfrm>
        </p:grpSpPr>
        <p:sp>
          <p:nvSpPr>
            <p:cNvPr id="131" name="Rectangle 33"/>
            <p:cNvSpPr>
              <a:spLocks noChangeArrowheads="1"/>
            </p:cNvSpPr>
            <p:nvPr/>
          </p:nvSpPr>
          <p:spPr bwMode="auto">
            <a:xfrm>
              <a:off x="6807155" y="4781587"/>
              <a:ext cx="1723665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Point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32" name="Rectangle 33"/>
            <p:cNvSpPr>
              <a:spLocks noChangeArrowheads="1"/>
            </p:cNvSpPr>
            <p:nvPr/>
          </p:nvSpPr>
          <p:spPr bwMode="auto">
            <a:xfrm>
              <a:off x="6624248" y="4781587"/>
              <a:ext cx="180000" cy="144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555776" y="4781587"/>
            <a:ext cx="1564714" cy="144000"/>
            <a:chOff x="4283968" y="4781587"/>
            <a:chExt cx="1564714" cy="144000"/>
          </a:xfrm>
        </p:grpSpPr>
        <p:pic>
          <p:nvPicPr>
            <p:cNvPr id="8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26080" y="4781587"/>
              <a:ext cx="210561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pic>
          <p:nvPicPr>
            <p:cNvPr id="10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4781587"/>
              <a:ext cx="213060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sp>
          <p:nvSpPr>
            <p:cNvPr id="155" name="Rectangle 33"/>
            <p:cNvSpPr>
              <a:spLocks noChangeArrowheads="1"/>
            </p:cNvSpPr>
            <p:nvPr/>
          </p:nvSpPr>
          <p:spPr bwMode="auto">
            <a:xfrm>
              <a:off x="4499992" y="4781587"/>
              <a:ext cx="326557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WBT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56" name="Rectangle 33"/>
            <p:cNvSpPr>
              <a:spLocks noChangeArrowheads="1"/>
            </p:cNvSpPr>
            <p:nvPr/>
          </p:nvSpPr>
          <p:spPr bwMode="auto">
            <a:xfrm>
              <a:off x="5220072" y="4781587"/>
              <a:ext cx="628610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Instructor led</a:t>
              </a:r>
              <a:endParaRPr lang="en-US" sz="700" dirty="0">
                <a:ea typeface="MS UI Gothic" pitchFamily="34" charset="-128"/>
              </a:endParaRPr>
            </a:p>
          </p:txBody>
        </p:sp>
      </p:grpSp>
      <p:grpSp>
        <p:nvGrpSpPr>
          <p:cNvPr id="145" name="Gruppieren 22"/>
          <p:cNvGrpSpPr/>
          <p:nvPr/>
        </p:nvGrpSpPr>
        <p:grpSpPr>
          <a:xfrm>
            <a:off x="342578" y="2552920"/>
            <a:ext cx="648072" cy="900000"/>
            <a:chOff x="395392" y="1324375"/>
            <a:chExt cx="648072" cy="900000"/>
          </a:xfrm>
        </p:grpSpPr>
        <p:sp>
          <p:nvSpPr>
            <p:cNvPr id="146" name="Rectangle 35"/>
            <p:cNvSpPr>
              <a:spLocks noChangeArrowheads="1"/>
            </p:cNvSpPr>
            <p:nvPr/>
          </p:nvSpPr>
          <p:spPr bwMode="auto">
            <a:xfrm>
              <a:off x="395392" y="1324375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S200c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e-Sales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47" name="Rectangle 33"/>
            <p:cNvSpPr>
              <a:spLocks noChangeArrowheads="1"/>
            </p:cNvSpPr>
            <p:nvPr/>
          </p:nvSpPr>
          <p:spPr bwMode="auto">
            <a:xfrm>
              <a:off x="827464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464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"/>
          <p:cNvGrpSpPr/>
          <p:nvPr/>
        </p:nvGrpSpPr>
        <p:grpSpPr>
          <a:xfrm>
            <a:off x="4319429" y="4793385"/>
            <a:ext cx="2190847" cy="154629"/>
            <a:chOff x="4319429" y="4793385"/>
            <a:chExt cx="2190847" cy="154629"/>
          </a:xfrm>
        </p:grpSpPr>
        <p:sp>
          <p:nvSpPr>
            <p:cNvPr id="176" name="Rectangle 33"/>
            <p:cNvSpPr>
              <a:spLocks noChangeArrowheads="1"/>
            </p:cNvSpPr>
            <p:nvPr/>
          </p:nvSpPr>
          <p:spPr bwMode="auto">
            <a:xfrm>
              <a:off x="4499992" y="4804014"/>
              <a:ext cx="2010284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Mandatory course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77" name="Rectangle 33"/>
            <p:cNvSpPr>
              <a:spLocks noChangeArrowheads="1"/>
            </p:cNvSpPr>
            <p:nvPr/>
          </p:nvSpPr>
          <p:spPr bwMode="auto">
            <a:xfrm>
              <a:off x="4319429" y="4793385"/>
              <a:ext cx="180000" cy="144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2987824" y="1474893"/>
            <a:ext cx="648072" cy="895530"/>
            <a:chOff x="6123592" y="1364291"/>
            <a:chExt cx="602102" cy="895530"/>
          </a:xfrm>
          <a:solidFill>
            <a:schemeClr val="tx1">
              <a:lumMod val="65000"/>
              <a:lumOff val="35000"/>
            </a:schemeClr>
          </a:solidFill>
        </p:grpSpPr>
        <p:grpSp>
          <p:nvGrpSpPr>
            <p:cNvPr id="28" name="Gruppieren 27"/>
            <p:cNvGrpSpPr/>
            <p:nvPr/>
          </p:nvGrpSpPr>
          <p:grpSpPr>
            <a:xfrm>
              <a:off x="6123592" y="1364291"/>
              <a:ext cx="602102" cy="876761"/>
              <a:chOff x="6096744" y="1341495"/>
              <a:chExt cx="648000" cy="900000"/>
            </a:xfrm>
            <a:grpFill/>
          </p:grpSpPr>
          <p:sp>
            <p:nvSpPr>
              <p:cNvPr id="112" name="Rectangle 35"/>
              <p:cNvSpPr>
                <a:spLocks noChangeArrowheads="1"/>
              </p:cNvSpPr>
              <p:nvPr/>
            </p:nvSpPr>
            <p:spPr bwMode="auto">
              <a:xfrm>
                <a:off x="6096744" y="1341495"/>
                <a:ext cx="648000" cy="900000"/>
              </a:xfrm>
              <a:prstGeom prst="rect">
                <a:avLst/>
              </a:prstGeom>
              <a:grpFill/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ETERNUS </a:t>
                </a:r>
                <a:endParaRPr lang="en-US" sz="8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CS8000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</a:t>
                </a:r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WBT</a:t>
                </a:r>
                <a:endParaRPr lang="en-US" sz="10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13" name="Rectangle 33"/>
              <p:cNvSpPr>
                <a:spLocks noChangeArrowheads="1"/>
              </p:cNvSpPr>
              <p:nvPr/>
            </p:nvSpPr>
            <p:spPr bwMode="auto">
              <a:xfrm>
                <a:off x="6528744" y="2097495"/>
                <a:ext cx="216000" cy="144000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2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18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123592" y="2115821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5"/>
          <p:cNvGrpSpPr/>
          <p:nvPr/>
        </p:nvGrpSpPr>
        <p:grpSpPr>
          <a:xfrm>
            <a:off x="5174062" y="1437652"/>
            <a:ext cx="652832" cy="902196"/>
            <a:chOff x="6808968" y="1347613"/>
            <a:chExt cx="602102" cy="902196"/>
          </a:xfrm>
        </p:grpSpPr>
        <p:grpSp>
          <p:nvGrpSpPr>
            <p:cNvPr id="184" name="Gruppieren 27"/>
            <p:cNvGrpSpPr/>
            <p:nvPr/>
          </p:nvGrpSpPr>
          <p:grpSpPr>
            <a:xfrm>
              <a:off x="6808968" y="1347613"/>
              <a:ext cx="602102" cy="876761"/>
              <a:chOff x="6096744" y="1324375"/>
              <a:chExt cx="648000" cy="900000"/>
            </a:xfrm>
          </p:grpSpPr>
          <p:sp>
            <p:nvSpPr>
              <p:cNvPr id="185" name="Rectangle 35"/>
              <p:cNvSpPr>
                <a:spLocks noChangeArrowheads="1"/>
              </p:cNvSpPr>
              <p:nvPr/>
            </p:nvSpPr>
            <p:spPr bwMode="auto">
              <a:xfrm>
                <a:off x="6096744" y="1324375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ETERNUS </a:t>
                </a:r>
                <a:endParaRPr lang="en-US" sz="8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CS8000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Extended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</a:t>
                </a:r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WBT</a:t>
                </a:r>
                <a:endParaRPr lang="en-US" sz="10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86" name="Rectangle 33"/>
              <p:cNvSpPr>
                <a:spLocks noChangeArrowheads="1"/>
              </p:cNvSpPr>
              <p:nvPr/>
            </p:nvSpPr>
            <p:spPr bwMode="auto">
              <a:xfrm>
                <a:off x="6528744" y="2080375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3</a:t>
                </a:r>
              </a:p>
            </p:txBody>
          </p:sp>
        </p:grpSp>
        <p:pic>
          <p:nvPicPr>
            <p:cNvPr id="187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808968" y="2105809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2" name="Gruppieren 35"/>
          <p:cNvGrpSpPr/>
          <p:nvPr/>
        </p:nvGrpSpPr>
        <p:grpSpPr>
          <a:xfrm>
            <a:off x="5191497" y="2555872"/>
            <a:ext cx="676575" cy="900000"/>
            <a:chOff x="6861545" y="2424782"/>
            <a:chExt cx="676575" cy="900000"/>
          </a:xfrm>
        </p:grpSpPr>
        <p:sp>
          <p:nvSpPr>
            <p:cNvPr id="193" name="Rectangle 35"/>
            <p:cNvSpPr>
              <a:spLocks noChangeArrowheads="1"/>
            </p:cNvSpPr>
            <p:nvPr/>
          </p:nvSpPr>
          <p:spPr bwMode="auto">
            <a:xfrm>
              <a:off x="6861545" y="2424782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Tech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ommunit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Data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otection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orkshop</a:t>
              </a:r>
            </a:p>
          </p:txBody>
        </p:sp>
        <p:sp>
          <p:nvSpPr>
            <p:cNvPr id="194" name="Rectangle 33"/>
            <p:cNvSpPr>
              <a:spLocks noChangeArrowheads="1"/>
            </p:cNvSpPr>
            <p:nvPr/>
          </p:nvSpPr>
          <p:spPr bwMode="auto">
            <a:xfrm>
              <a:off x="7322120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4</a:t>
              </a:r>
            </a:p>
          </p:txBody>
        </p:sp>
        <p:pic>
          <p:nvPicPr>
            <p:cNvPr id="19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90120" y="3180782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1" name="Gruppieren 43"/>
          <p:cNvGrpSpPr/>
          <p:nvPr/>
        </p:nvGrpSpPr>
        <p:grpSpPr>
          <a:xfrm>
            <a:off x="5940152" y="3635992"/>
            <a:ext cx="648000" cy="900000"/>
            <a:chOff x="6890120" y="3502521"/>
            <a:chExt cx="648000" cy="900000"/>
          </a:xfrm>
        </p:grpSpPr>
        <p:sp>
          <p:nvSpPr>
            <p:cNvPr id="82" name="Rectangle 35"/>
            <p:cNvSpPr>
              <a:spLocks noChangeArrowheads="1"/>
            </p:cNvSpPr>
            <p:nvPr/>
          </p:nvSpPr>
          <p:spPr bwMode="auto">
            <a:xfrm>
              <a:off x="6890120" y="3502521"/>
              <a:ext cx="648000" cy="900000"/>
            </a:xfrm>
            <a:prstGeom prst="rect">
              <a:avLst/>
            </a:prstGeom>
            <a:solidFill>
              <a:srgbClr val="1BA12B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800" dirty="0" err="1" smtClean="0">
                  <a:solidFill>
                    <a:schemeClr val="bg1"/>
                  </a:solidFill>
                  <a:ea typeface="MS UI Gothic" pitchFamily="34" charset="-128"/>
                </a:rPr>
                <a:t>CommVault</a:t>
              </a: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/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ertified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ervices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Associate 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83" name="Rectangle 33"/>
            <p:cNvSpPr>
              <a:spLocks noChangeArrowheads="1"/>
            </p:cNvSpPr>
            <p:nvPr/>
          </p:nvSpPr>
          <p:spPr bwMode="auto">
            <a:xfrm>
              <a:off x="7322120" y="4258521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4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84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90120" y="4258521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8" name="Gruppieren 43"/>
          <p:cNvGrpSpPr/>
          <p:nvPr/>
        </p:nvGrpSpPr>
        <p:grpSpPr>
          <a:xfrm>
            <a:off x="5940152" y="2555872"/>
            <a:ext cx="648000" cy="900000"/>
            <a:chOff x="6890120" y="3502521"/>
            <a:chExt cx="648000" cy="900000"/>
          </a:xfrm>
        </p:grpSpPr>
        <p:sp>
          <p:nvSpPr>
            <p:cNvPr id="89" name="Rectangle 35"/>
            <p:cNvSpPr>
              <a:spLocks noChangeArrowheads="1"/>
            </p:cNvSpPr>
            <p:nvPr/>
          </p:nvSpPr>
          <p:spPr bwMode="auto">
            <a:xfrm>
              <a:off x="6890120" y="3502521"/>
              <a:ext cx="648000" cy="900000"/>
            </a:xfrm>
            <a:prstGeom prst="rect">
              <a:avLst/>
            </a:prstGeom>
            <a:solidFill>
              <a:srgbClr val="1BA12B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800" dirty="0" err="1" smtClean="0">
                  <a:solidFill>
                    <a:schemeClr val="bg1"/>
                  </a:solidFill>
                  <a:ea typeface="MS UI Gothic" pitchFamily="34" charset="-128"/>
                </a:rPr>
                <a:t>CommVault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/>
              </a:r>
              <a:b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olutions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Architect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ertification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7322120" y="4258521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4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91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90120" y="4258521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93" name="Gruppieren 43"/>
          <p:cNvGrpSpPr/>
          <p:nvPr/>
        </p:nvGrpSpPr>
        <p:grpSpPr>
          <a:xfrm>
            <a:off x="5940152" y="1475752"/>
            <a:ext cx="648000" cy="900000"/>
            <a:chOff x="6890120" y="3502521"/>
            <a:chExt cx="648000" cy="900000"/>
          </a:xfrm>
        </p:grpSpPr>
        <p:sp>
          <p:nvSpPr>
            <p:cNvPr id="96" name="Rectangle 35"/>
            <p:cNvSpPr>
              <a:spLocks noChangeArrowheads="1"/>
            </p:cNvSpPr>
            <p:nvPr/>
          </p:nvSpPr>
          <p:spPr bwMode="auto">
            <a:xfrm>
              <a:off x="6890120" y="3502521"/>
              <a:ext cx="648000" cy="900000"/>
            </a:xfrm>
            <a:prstGeom prst="rect">
              <a:avLst/>
            </a:prstGeom>
            <a:solidFill>
              <a:srgbClr val="1BA12B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800" dirty="0" err="1" smtClean="0">
                  <a:solidFill>
                    <a:schemeClr val="bg1"/>
                  </a:solidFill>
                  <a:ea typeface="MS UI Gothic" pitchFamily="34" charset="-128"/>
                </a:rPr>
                <a:t>CommVault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/>
              </a:r>
              <a:b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ofessional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Accreditation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7" name="Rectangle 33"/>
            <p:cNvSpPr>
              <a:spLocks noChangeArrowheads="1"/>
            </p:cNvSpPr>
            <p:nvPr/>
          </p:nvSpPr>
          <p:spPr bwMode="auto">
            <a:xfrm>
              <a:off x="7322120" y="4258521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4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98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90120" y="4258521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0" name="Rectangle 35"/>
          <p:cNvSpPr>
            <a:spLocks noChangeArrowheads="1"/>
          </p:cNvSpPr>
          <p:nvPr/>
        </p:nvSpPr>
        <p:spPr bwMode="auto">
          <a:xfrm>
            <a:off x="2987824" y="2565369"/>
            <a:ext cx="648000" cy="900000"/>
          </a:xfrm>
          <a:prstGeom prst="rect">
            <a:avLst/>
          </a:prstGeom>
          <a:solidFill>
            <a:srgbClr val="FF0000"/>
          </a:solidFill>
          <a:ln w="12700">
            <a:solidFill>
              <a:srgbClr val="5F5F5F"/>
            </a:solidFill>
            <a:miter lim="800000"/>
            <a:headEnd/>
            <a:tailEnd/>
          </a:ln>
        </p:spPr>
        <p:txBody>
          <a:bodyPr wrap="none" lIns="72000" tIns="72000" rIns="72000" bIns="72000" anchor="ctr" anchorCtr="1">
            <a:norm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Storage</a:t>
            </a:r>
            <a:b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</a:b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Tape</a:t>
            </a:r>
            <a:b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</a:b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Automation</a:t>
            </a:r>
            <a:b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</a:b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Pre-sales</a:t>
            </a:r>
            <a:b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</a:br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WBT</a:t>
            </a:r>
            <a:endParaRPr lang="en-US" sz="800" dirty="0">
              <a:solidFill>
                <a:schemeClr val="bg1"/>
              </a:solidFill>
              <a:ea typeface="MS UI Gothic" pitchFamily="34" charset="-128"/>
            </a:endParaRPr>
          </a:p>
        </p:txBody>
      </p:sp>
      <p:grpSp>
        <p:nvGrpSpPr>
          <p:cNvPr id="108" name="Gruppieren 22"/>
          <p:cNvGrpSpPr/>
          <p:nvPr/>
        </p:nvGrpSpPr>
        <p:grpSpPr>
          <a:xfrm>
            <a:off x="348029" y="1455304"/>
            <a:ext cx="623498" cy="903352"/>
            <a:chOff x="494592" y="1324375"/>
            <a:chExt cx="647998" cy="900000"/>
          </a:xfrm>
          <a:solidFill>
            <a:srgbClr val="FF0000"/>
          </a:solidFill>
        </p:grpSpPr>
        <p:sp>
          <p:nvSpPr>
            <p:cNvPr id="111" name="Rectangle 35"/>
            <p:cNvSpPr>
              <a:spLocks noChangeArrowheads="1"/>
            </p:cNvSpPr>
            <p:nvPr/>
          </p:nvSpPr>
          <p:spPr bwMode="auto">
            <a:xfrm>
              <a:off x="494592" y="1324375"/>
              <a:ext cx="647998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Fujitsu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Data</a:t>
              </a:r>
              <a:b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otection</a:t>
              </a:r>
              <a:b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9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14" name="Rectangle 33"/>
            <p:cNvSpPr>
              <a:spLocks noChangeArrowheads="1"/>
            </p:cNvSpPr>
            <p:nvPr/>
          </p:nvSpPr>
          <p:spPr bwMode="auto">
            <a:xfrm>
              <a:off x="925267" y="2080375"/>
              <a:ext cx="216000" cy="144000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15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22967" y="2080375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oup 6"/>
          <p:cNvGrpSpPr/>
          <p:nvPr/>
        </p:nvGrpSpPr>
        <p:grpSpPr>
          <a:xfrm>
            <a:off x="323528" y="3655042"/>
            <a:ext cx="648000" cy="900000"/>
            <a:chOff x="1043608" y="3526904"/>
            <a:chExt cx="648000" cy="900000"/>
          </a:xfrm>
          <a:solidFill>
            <a:srgbClr val="FF0000"/>
          </a:solidFill>
        </p:grpSpPr>
        <p:sp>
          <p:nvSpPr>
            <p:cNvPr id="99" name="Rectangle 35"/>
            <p:cNvSpPr>
              <a:spLocks noChangeArrowheads="1"/>
            </p:cNvSpPr>
            <p:nvPr/>
          </p:nvSpPr>
          <p:spPr bwMode="auto">
            <a:xfrm>
              <a:off x="1043608" y="3526904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ETERNUS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LT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Install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and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Maintain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17" name="Rectangle 33"/>
            <p:cNvSpPr>
              <a:spLocks noChangeArrowheads="1"/>
            </p:cNvSpPr>
            <p:nvPr/>
          </p:nvSpPr>
          <p:spPr bwMode="auto">
            <a:xfrm>
              <a:off x="1475608" y="4280908"/>
              <a:ext cx="216000" cy="144000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</a:p>
          </p:txBody>
        </p:sp>
        <p:pic>
          <p:nvPicPr>
            <p:cNvPr id="118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062658" y="4280908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9" name="Rectangle 33"/>
          <p:cNvSpPr>
            <a:spLocks noChangeArrowheads="1"/>
          </p:cNvSpPr>
          <p:nvPr/>
        </p:nvSpPr>
        <p:spPr bwMode="auto">
          <a:xfrm>
            <a:off x="3419800" y="3332925"/>
            <a:ext cx="216024" cy="140282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800" dirty="0" smtClean="0">
                <a:solidFill>
                  <a:schemeClr val="bg1"/>
                </a:solidFill>
                <a:ea typeface="MS UI Gothic" pitchFamily="34" charset="-128"/>
              </a:rPr>
              <a:t>2</a:t>
            </a:r>
            <a:endParaRPr lang="en-US" sz="800" dirty="0">
              <a:solidFill>
                <a:schemeClr val="bg1"/>
              </a:solidFill>
              <a:ea typeface="MS UI Gothic" pitchFamily="34" charset="-128"/>
            </a:endParaRPr>
          </a:p>
        </p:txBody>
      </p:sp>
      <p:pic>
        <p:nvPicPr>
          <p:cNvPr id="120" name="Grafik 37" descr="wbt.png"/>
          <p:cNvPicPr preferRelativeResize="0">
            <a:picLocks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97349" y="3319725"/>
            <a:ext cx="194537" cy="14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03" y="52913"/>
            <a:ext cx="796333" cy="81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65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5" y="1"/>
            <a:ext cx="9134475" cy="515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72557"/>
            <a:ext cx="7561264" cy="770953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 err="1" smtClean="0">
                <a:latin typeface="Fujitsu Sans" panose="020B0404060202020204" pitchFamily="34" charset="0"/>
              </a:rPr>
              <a:t>Miksi</a:t>
            </a:r>
            <a:r>
              <a:rPr lang="en-US" dirty="0" smtClean="0">
                <a:latin typeface="Fujitsu Sans" panose="020B0404060202020204" pitchFamily="34" charset="0"/>
              </a:rPr>
              <a:t> </a:t>
            </a:r>
            <a:r>
              <a:rPr lang="en-US" dirty="0" err="1" smtClean="0">
                <a:latin typeface="Fujitsu Sans" panose="020B0404060202020204" pitchFamily="34" charset="0"/>
              </a:rPr>
              <a:t>sertifioitua</a:t>
            </a:r>
            <a:r>
              <a:rPr lang="en-US" dirty="0" smtClean="0">
                <a:latin typeface="Fujitsu Sans" panose="020B0404060202020204" pitchFamily="34" charset="0"/>
              </a:rPr>
              <a:t> Fujitsu Select –</a:t>
            </a:r>
            <a:r>
              <a:rPr lang="en-US" dirty="0" err="1" smtClean="0">
                <a:latin typeface="Fujitsu Sans" panose="020B0404060202020204" pitchFamily="34" charset="0"/>
              </a:rPr>
              <a:t>kumppaniksi</a:t>
            </a:r>
            <a:r>
              <a:rPr lang="en-US" dirty="0" smtClean="0">
                <a:latin typeface="Fujitsu Sans" panose="020B0404060202020204" pitchFamily="34" charset="0"/>
              </a:rPr>
              <a:t>?</a:t>
            </a:r>
            <a:endParaRPr lang="en-US" dirty="0">
              <a:latin typeface="Fujitsu Sans" panose="020B0404060202020204" pitchFamily="34" charset="0"/>
            </a:endParaRPr>
          </a:p>
        </p:txBody>
      </p:sp>
      <p:sp>
        <p:nvSpPr>
          <p:cNvPr id="14" name="Freihandform 13"/>
          <p:cNvSpPr/>
          <p:nvPr/>
        </p:nvSpPr>
        <p:spPr bwMode="gray">
          <a:xfrm>
            <a:off x="7740448" y="4318178"/>
            <a:ext cx="1224173" cy="521891"/>
          </a:xfrm>
          <a:custGeom>
            <a:avLst/>
            <a:gdLst>
              <a:gd name="connsiteX0" fmla="*/ 0 w 2379134"/>
              <a:gd name="connsiteY0" fmla="*/ 694267 h 694267"/>
              <a:gd name="connsiteX1" fmla="*/ 2379134 w 2379134"/>
              <a:gd name="connsiteY1" fmla="*/ 694267 h 694267"/>
              <a:gd name="connsiteX2" fmla="*/ 2379134 w 2379134"/>
              <a:gd name="connsiteY2" fmla="*/ 0 h 694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79134" h="694267">
                <a:moveTo>
                  <a:pt x="0" y="694267"/>
                </a:moveTo>
                <a:lnTo>
                  <a:pt x="2379134" y="694267"/>
                </a:lnTo>
                <a:lnTo>
                  <a:pt x="2379134" y="0"/>
                </a:ln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3" name="Gruppieren 16"/>
          <p:cNvGrpSpPr/>
          <p:nvPr/>
        </p:nvGrpSpPr>
        <p:grpSpPr>
          <a:xfrm>
            <a:off x="400561" y="1363502"/>
            <a:ext cx="8309488" cy="3224472"/>
            <a:chOff x="467544" y="854963"/>
            <a:chExt cx="5112568" cy="3071403"/>
          </a:xfrm>
        </p:grpSpPr>
        <p:sp>
          <p:nvSpPr>
            <p:cNvPr id="92" name="Rechteck 62"/>
            <p:cNvSpPr/>
            <p:nvPr>
              <p:custDataLst>
                <p:tags r:id="rId1"/>
              </p:custDataLst>
            </p:nvPr>
          </p:nvSpPr>
          <p:spPr bwMode="gray">
            <a:xfrm>
              <a:off x="467544" y="854963"/>
              <a:ext cx="5112568" cy="3071403"/>
            </a:xfrm>
            <a:prstGeom prst="round1Rect">
              <a:avLst/>
            </a:prstGeom>
            <a:gradFill>
              <a:gsLst>
                <a:gs pos="0">
                  <a:schemeClr val="bg1"/>
                </a:gs>
                <a:gs pos="100000">
                  <a:schemeClr val="bg2"/>
                </a:gs>
              </a:gsLst>
              <a:lin ang="5400000" scaled="1"/>
            </a:gradFill>
            <a:ln w="9525" cap="flat" cmpd="sng" algn="ctr">
              <a:solidFill>
                <a:schemeClr val="bg2">
                  <a:lumMod val="9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12700" dir="2700000" algn="ctr" rotWithShape="0">
                <a:srgbClr val="000000">
                  <a:alpha val="20000"/>
                </a:srgbClr>
              </a:outerShdw>
            </a:effectLst>
          </p:spPr>
          <p:txBody>
            <a:bodyPr vert="horz" wrap="square" lIns="90000" tIns="82800" rIns="91440" bIns="82800" numCol="1" rtlCol="0" anchor="t" anchorCtr="0" compatLnSpc="1">
              <a:prstTxWarp prst="textNoShape">
                <a:avLst/>
              </a:prstTxWarp>
            </a:bodyPr>
            <a:lstStyle/>
            <a:p>
              <a:pPr marL="0" lvl="1">
                <a:spcBef>
                  <a:spcPts val="200"/>
                </a:spcBef>
                <a:buClr>
                  <a:schemeClr val="accent2"/>
                </a:buClr>
              </a:pPr>
              <a:endParaRPr lang="en-US" sz="1200" dirty="0" smtClean="0"/>
            </a:p>
          </p:txBody>
        </p:sp>
        <p:sp>
          <p:nvSpPr>
            <p:cNvPr id="135" name="Eine Ecke des Rechtecks abrunden 134"/>
            <p:cNvSpPr/>
            <p:nvPr>
              <p:custDataLst>
                <p:tags r:id="rId2"/>
              </p:custDataLst>
            </p:nvPr>
          </p:nvSpPr>
          <p:spPr bwMode="gray">
            <a:xfrm>
              <a:off x="467544" y="854965"/>
              <a:ext cx="5105728" cy="393469"/>
            </a:xfrm>
            <a:prstGeom prst="round1Rect">
              <a:avLst>
                <a:gd name="adj" fmla="val 88182"/>
              </a:avLst>
            </a:prstGeom>
            <a:gradFill>
              <a:gsLst>
                <a:gs pos="3000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108000" tIns="46800" rIns="0" bIns="46800" anchor="ctr"/>
            <a:lstStyle/>
            <a:p>
              <a:pPr marL="0" lvl="1" fontAlgn="ctr">
                <a:spcBef>
                  <a:spcPct val="10000"/>
                </a:spcBef>
                <a:spcAft>
                  <a:spcPct val="0"/>
                </a:spcAft>
                <a:buClr>
                  <a:srgbClr val="A30B1A"/>
                </a:buClr>
              </a:pPr>
              <a:r>
                <a:rPr lang="en-US" sz="1600" dirty="0" err="1" smtClean="0">
                  <a:solidFill>
                    <a:srgbClr val="FFFFFF"/>
                  </a:solidFill>
                  <a:sym typeface="Wingdings 3"/>
                </a:rPr>
                <a:t>Osaaminen</a:t>
              </a:r>
              <a:r>
                <a:rPr lang="en-US" sz="1600" dirty="0" smtClean="0">
                  <a:solidFill>
                    <a:srgbClr val="FFFFFF"/>
                  </a:solidFill>
                  <a:sym typeface="Wingdings 3"/>
                </a:rPr>
                <a:t> </a:t>
              </a:r>
              <a:r>
                <a:rPr lang="en-US" sz="1600" dirty="0" err="1" smtClean="0">
                  <a:solidFill>
                    <a:srgbClr val="FFFFFF"/>
                  </a:solidFill>
                  <a:sym typeface="Wingdings 3"/>
                </a:rPr>
                <a:t>luo</a:t>
              </a:r>
              <a:r>
                <a:rPr lang="en-US" sz="1600" dirty="0" smtClean="0">
                  <a:solidFill>
                    <a:srgbClr val="FFFFFF"/>
                  </a:solidFill>
                  <a:sym typeface="Wingdings 3"/>
                </a:rPr>
                <a:t> </a:t>
              </a:r>
              <a:r>
                <a:rPr lang="en-US" sz="1600" dirty="0" err="1" smtClean="0">
                  <a:solidFill>
                    <a:srgbClr val="FFFFFF"/>
                  </a:solidFill>
                  <a:sym typeface="Wingdings 3"/>
                </a:rPr>
                <a:t>pohjan</a:t>
              </a:r>
              <a:r>
                <a:rPr lang="en-US" sz="1600" dirty="0" smtClean="0">
                  <a:solidFill>
                    <a:srgbClr val="FFFFFF"/>
                  </a:solidFill>
                  <a:sym typeface="Wingdings 3"/>
                </a:rPr>
                <a:t> </a:t>
              </a:r>
              <a:r>
                <a:rPr lang="en-US" sz="1600" dirty="0" err="1" smtClean="0">
                  <a:solidFill>
                    <a:srgbClr val="FFFFFF"/>
                  </a:solidFill>
                  <a:sym typeface="Wingdings 3"/>
                </a:rPr>
                <a:t>yhteiselle</a:t>
              </a:r>
              <a:r>
                <a:rPr lang="en-US" sz="1600" dirty="0" smtClean="0">
                  <a:solidFill>
                    <a:srgbClr val="FFFFFF"/>
                  </a:solidFill>
                  <a:sym typeface="Wingdings 3"/>
                </a:rPr>
                <a:t> </a:t>
              </a:r>
              <a:r>
                <a:rPr lang="en-US" sz="1600" dirty="0" err="1" smtClean="0">
                  <a:solidFill>
                    <a:srgbClr val="FFFFFF"/>
                  </a:solidFill>
                  <a:sym typeface="Wingdings 3"/>
                </a:rPr>
                <a:t>menestymiselle</a:t>
              </a:r>
              <a:endParaRPr lang="en-US" sz="1600" dirty="0" smtClean="0">
                <a:solidFill>
                  <a:srgbClr val="FFFFFF"/>
                </a:solidFill>
                <a:sym typeface="Wingdings 3"/>
              </a:endParaRPr>
            </a:p>
          </p:txBody>
        </p:sp>
      </p:grpSp>
      <p:grpSp>
        <p:nvGrpSpPr>
          <p:cNvPr id="17" name="Group 109"/>
          <p:cNvGrpSpPr/>
          <p:nvPr/>
        </p:nvGrpSpPr>
        <p:grpSpPr>
          <a:xfrm>
            <a:off x="8010525" y="249241"/>
            <a:ext cx="892176" cy="434975"/>
            <a:chOff x="8010525" y="249238"/>
            <a:chExt cx="892176" cy="434975"/>
          </a:xfrm>
        </p:grpSpPr>
        <p:sp>
          <p:nvSpPr>
            <p:cNvPr id="61" name="Freeform 68"/>
            <p:cNvSpPr>
              <a:spLocks/>
            </p:cNvSpPr>
            <p:nvPr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3" name="Freeform 70"/>
            <p:cNvSpPr>
              <a:spLocks/>
            </p:cNvSpPr>
            <p:nvPr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4" name="Freeform 71"/>
            <p:cNvSpPr>
              <a:spLocks/>
            </p:cNvSpPr>
            <p:nvPr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5" name="Freeform 72"/>
            <p:cNvSpPr>
              <a:spLocks/>
            </p:cNvSpPr>
            <p:nvPr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Freeform 73"/>
            <p:cNvSpPr>
              <a:spLocks/>
            </p:cNvSpPr>
            <p:nvPr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7" name="Freeform 74"/>
            <p:cNvSpPr>
              <a:spLocks/>
            </p:cNvSpPr>
            <p:nvPr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8" name="Freeform 75"/>
            <p:cNvSpPr>
              <a:spLocks/>
            </p:cNvSpPr>
            <p:nvPr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28" name="Gruppieren 23"/>
          <p:cNvGrpSpPr/>
          <p:nvPr/>
        </p:nvGrpSpPr>
        <p:grpSpPr>
          <a:xfrm>
            <a:off x="200780" y="4984166"/>
            <a:ext cx="1520819" cy="140630"/>
            <a:chOff x="3419871" y="4623985"/>
            <a:chExt cx="1520819" cy="140629"/>
          </a:xfrm>
        </p:grpSpPr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3419871" y="4623985"/>
              <a:ext cx="1520819" cy="139477"/>
            </a:xfrm>
            <a:custGeom>
              <a:avLst/>
              <a:gdLst>
                <a:gd name="T0" fmla="*/ 408 w 8125"/>
                <a:gd name="T1" fmla="*/ 0 h 816"/>
                <a:gd name="T2" fmla="*/ 0 w 8125"/>
                <a:gd name="T3" fmla="*/ 408 h 816"/>
                <a:gd name="T4" fmla="*/ 408 w 8125"/>
                <a:gd name="T5" fmla="*/ 816 h 816"/>
                <a:gd name="T6" fmla="*/ 7717 w 8125"/>
                <a:gd name="T7" fmla="*/ 816 h 816"/>
                <a:gd name="T8" fmla="*/ 8125 w 8125"/>
                <a:gd name="T9" fmla="*/ 408 h 816"/>
                <a:gd name="T10" fmla="*/ 7717 w 8125"/>
                <a:gd name="T11" fmla="*/ 0 h 816"/>
                <a:gd name="T12" fmla="*/ 408 w 8125"/>
                <a:gd name="T13" fmla="*/ 0 h 8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25" h="816">
                  <a:moveTo>
                    <a:pt x="408" y="0"/>
                  </a:moveTo>
                  <a:cubicBezTo>
                    <a:pt x="183" y="0"/>
                    <a:pt x="0" y="183"/>
                    <a:pt x="0" y="408"/>
                  </a:cubicBezTo>
                  <a:cubicBezTo>
                    <a:pt x="0" y="634"/>
                    <a:pt x="183" y="816"/>
                    <a:pt x="408" y="816"/>
                  </a:cubicBezTo>
                  <a:lnTo>
                    <a:pt x="7717" y="816"/>
                  </a:lnTo>
                  <a:cubicBezTo>
                    <a:pt x="7942" y="816"/>
                    <a:pt x="8125" y="634"/>
                    <a:pt x="8125" y="408"/>
                  </a:cubicBezTo>
                  <a:cubicBezTo>
                    <a:pt x="8125" y="183"/>
                    <a:pt x="7942" y="0"/>
                    <a:pt x="7717" y="0"/>
                  </a:cubicBezTo>
                  <a:lnTo>
                    <a:pt x="408" y="0"/>
                  </a:lnTo>
                  <a:close/>
                </a:path>
              </a:pathLst>
            </a:custGeom>
            <a:noFill/>
            <a:ln w="19050" cap="rnd">
              <a:solidFill>
                <a:srgbClr val="B72C15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0" name="Rectangle 32"/>
            <p:cNvSpPr>
              <a:spLocks noChangeArrowheads="1"/>
            </p:cNvSpPr>
            <p:nvPr/>
          </p:nvSpPr>
          <p:spPr bwMode="auto">
            <a:xfrm>
              <a:off x="3656046" y="4626116"/>
              <a:ext cx="1205458" cy="138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900" b="1" i="0" u="none" strike="noStrike" cap="none" normalizeH="0" baseline="0" dirty="0" smtClean="0">
                  <a:ln>
                    <a:noFill/>
                  </a:ln>
                  <a:solidFill>
                    <a:srgbClr val="B72C15"/>
                  </a:solidFill>
                  <a:effectLst/>
                  <a:latin typeface="+mj-lt"/>
                </a:rPr>
                <a:t>INTERNAL USE ONLY</a:t>
              </a:r>
              <a:endParaRPr kumimoji="0" lang="de-D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1" name="Freeform 33"/>
            <p:cNvSpPr>
              <a:spLocks noEditPoints="1"/>
            </p:cNvSpPr>
            <p:nvPr/>
          </p:nvSpPr>
          <p:spPr bwMode="auto">
            <a:xfrm>
              <a:off x="3474867" y="4642695"/>
              <a:ext cx="125909" cy="107159"/>
            </a:xfrm>
            <a:custGeom>
              <a:avLst/>
              <a:gdLst>
                <a:gd name="T0" fmla="*/ 0 w 592"/>
                <a:gd name="T1" fmla="*/ 296 h 592"/>
                <a:gd name="T2" fmla="*/ 296 w 592"/>
                <a:gd name="T3" fmla="*/ 0 h 592"/>
                <a:gd name="T4" fmla="*/ 592 w 592"/>
                <a:gd name="T5" fmla="*/ 296 h 592"/>
                <a:gd name="T6" fmla="*/ 296 w 592"/>
                <a:gd name="T7" fmla="*/ 592 h 592"/>
                <a:gd name="T8" fmla="*/ 0 w 592"/>
                <a:gd name="T9" fmla="*/ 296 h 592"/>
                <a:gd name="T10" fmla="*/ 477 w 592"/>
                <a:gd name="T11" fmla="*/ 425 h 592"/>
                <a:gd name="T12" fmla="*/ 518 w 592"/>
                <a:gd name="T13" fmla="*/ 296 h 592"/>
                <a:gd name="T14" fmla="*/ 296 w 592"/>
                <a:gd name="T15" fmla="*/ 74 h 592"/>
                <a:gd name="T16" fmla="*/ 167 w 592"/>
                <a:gd name="T17" fmla="*/ 115 h 592"/>
                <a:gd name="T18" fmla="*/ 477 w 592"/>
                <a:gd name="T19" fmla="*/ 425 h 592"/>
                <a:gd name="T20" fmla="*/ 115 w 592"/>
                <a:gd name="T21" fmla="*/ 168 h 592"/>
                <a:gd name="T22" fmla="*/ 74 w 592"/>
                <a:gd name="T23" fmla="*/ 296 h 592"/>
                <a:gd name="T24" fmla="*/ 296 w 592"/>
                <a:gd name="T25" fmla="*/ 518 h 592"/>
                <a:gd name="T26" fmla="*/ 425 w 592"/>
                <a:gd name="T27" fmla="*/ 477 h 592"/>
                <a:gd name="T28" fmla="*/ 115 w 592"/>
                <a:gd name="T29" fmla="*/ 168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2" h="592">
                  <a:moveTo>
                    <a:pt x="0" y="296"/>
                  </a:moveTo>
                  <a:cubicBezTo>
                    <a:pt x="0" y="133"/>
                    <a:pt x="133" y="0"/>
                    <a:pt x="296" y="0"/>
                  </a:cubicBezTo>
                  <a:cubicBezTo>
                    <a:pt x="459" y="0"/>
                    <a:pt x="592" y="133"/>
                    <a:pt x="592" y="296"/>
                  </a:cubicBezTo>
                  <a:cubicBezTo>
                    <a:pt x="592" y="460"/>
                    <a:pt x="459" y="592"/>
                    <a:pt x="296" y="592"/>
                  </a:cubicBezTo>
                  <a:cubicBezTo>
                    <a:pt x="133" y="592"/>
                    <a:pt x="0" y="460"/>
                    <a:pt x="0" y="296"/>
                  </a:cubicBezTo>
                  <a:close/>
                  <a:moveTo>
                    <a:pt x="477" y="425"/>
                  </a:moveTo>
                  <a:cubicBezTo>
                    <a:pt x="503" y="387"/>
                    <a:pt x="518" y="342"/>
                    <a:pt x="518" y="296"/>
                  </a:cubicBezTo>
                  <a:cubicBezTo>
                    <a:pt x="518" y="174"/>
                    <a:pt x="418" y="74"/>
                    <a:pt x="296" y="74"/>
                  </a:cubicBezTo>
                  <a:cubicBezTo>
                    <a:pt x="250" y="74"/>
                    <a:pt x="205" y="89"/>
                    <a:pt x="167" y="115"/>
                  </a:cubicBezTo>
                  <a:lnTo>
                    <a:pt x="477" y="425"/>
                  </a:lnTo>
                  <a:close/>
                  <a:moveTo>
                    <a:pt x="115" y="168"/>
                  </a:moveTo>
                  <a:cubicBezTo>
                    <a:pt x="88" y="205"/>
                    <a:pt x="74" y="250"/>
                    <a:pt x="74" y="296"/>
                  </a:cubicBezTo>
                  <a:cubicBezTo>
                    <a:pt x="74" y="419"/>
                    <a:pt x="173" y="518"/>
                    <a:pt x="296" y="518"/>
                  </a:cubicBezTo>
                  <a:cubicBezTo>
                    <a:pt x="342" y="518"/>
                    <a:pt x="387" y="504"/>
                    <a:pt x="425" y="477"/>
                  </a:cubicBezTo>
                  <a:lnTo>
                    <a:pt x="115" y="168"/>
                  </a:lnTo>
                  <a:close/>
                </a:path>
              </a:pathLst>
            </a:custGeom>
            <a:solidFill>
              <a:srgbClr val="B72C1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sp>
        <p:nvSpPr>
          <p:cNvPr id="4" name="Rectangle 3"/>
          <p:cNvSpPr/>
          <p:nvPr/>
        </p:nvSpPr>
        <p:spPr>
          <a:xfrm>
            <a:off x="542039" y="2036565"/>
            <a:ext cx="8062409" cy="2191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 err="1" smtClean="0">
                <a:solidFill>
                  <a:srgbClr val="000000"/>
                </a:solidFill>
              </a:rPr>
              <a:t>Erikoishinnoittelut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200" dirty="0" err="1" smtClean="0">
                <a:solidFill>
                  <a:srgbClr val="000000"/>
                </a:solidFill>
              </a:rPr>
              <a:t>Hankkeet</a:t>
            </a:r>
            <a:r>
              <a:rPr lang="en-US" sz="1200" dirty="0" smtClean="0">
                <a:solidFill>
                  <a:srgbClr val="000000"/>
                </a:solidFill>
              </a:rPr>
              <a:t> + </a:t>
            </a:r>
            <a:r>
              <a:rPr lang="en-US" sz="1200" dirty="0" err="1" smtClean="0">
                <a:solidFill>
                  <a:srgbClr val="000000"/>
                </a:solidFill>
              </a:rPr>
              <a:t>Fokusvalikoimaa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FastBid-erikoishinnat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suoraa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tukkureilta</a:t>
            </a:r>
            <a:endParaRPr lang="en-US" sz="1200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 err="1" smtClean="0">
                <a:solidFill>
                  <a:srgbClr val="000000"/>
                </a:solidFill>
              </a:rPr>
              <a:t>PreSales-tuki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200" dirty="0" err="1" smtClean="0">
                <a:solidFill>
                  <a:srgbClr val="000000"/>
                </a:solidFill>
              </a:rPr>
              <a:t>Asiantuntijat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&amp; </a:t>
            </a:r>
            <a:r>
              <a:rPr lang="en-US" sz="1200" dirty="0" err="1">
                <a:solidFill>
                  <a:srgbClr val="000000"/>
                </a:solidFill>
              </a:rPr>
              <a:t>Fujitsun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ratkaisukeskus</a:t>
            </a:r>
            <a:endParaRPr lang="en-US" sz="1200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000000"/>
                </a:solidFill>
              </a:rPr>
              <a:t>Demo-</a:t>
            </a:r>
            <a:r>
              <a:rPr lang="en-US" sz="1600" dirty="0" err="1">
                <a:solidFill>
                  <a:srgbClr val="000000"/>
                </a:solidFill>
              </a:rPr>
              <a:t>ohjelmat</a:t>
            </a:r>
            <a:r>
              <a:rPr lang="en-US" sz="1600" dirty="0">
                <a:solidFill>
                  <a:srgbClr val="000000"/>
                </a:solidFill>
              </a:rPr>
              <a:t> ja </a:t>
            </a:r>
            <a:r>
              <a:rPr lang="en-US" sz="1600" dirty="0" err="1">
                <a:solidFill>
                  <a:srgbClr val="000000"/>
                </a:solidFill>
              </a:rPr>
              <a:t>parhaat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alennukset</a:t>
            </a:r>
            <a:endParaRPr lang="en-US" sz="1600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>
                <a:solidFill>
                  <a:srgbClr val="000000"/>
                </a:solidFill>
              </a:rPr>
              <a:t>Tech Community –</a:t>
            </a:r>
            <a:r>
              <a:rPr lang="en-US" sz="1600" dirty="0" err="1" smtClean="0">
                <a:solidFill>
                  <a:srgbClr val="000000"/>
                </a:solidFill>
              </a:rPr>
              <a:t>yhteisö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200" dirty="0" err="1" smtClean="0">
                <a:solidFill>
                  <a:srgbClr val="000000"/>
                </a:solidFill>
              </a:rPr>
              <a:t>Foorumi</a:t>
            </a:r>
            <a:r>
              <a:rPr lang="en-US" sz="1200" dirty="0" smtClean="0">
                <a:solidFill>
                  <a:srgbClr val="000000"/>
                </a:solidFill>
              </a:rPr>
              <a:t>, </a:t>
            </a:r>
            <a:r>
              <a:rPr lang="en-US" sz="1200" dirty="0" err="1" smtClean="0">
                <a:solidFill>
                  <a:srgbClr val="000000"/>
                </a:solidFill>
              </a:rPr>
              <a:t>asiantuntijatapaamiset</a:t>
            </a:r>
            <a:r>
              <a:rPr lang="en-US" sz="1200" dirty="0" smtClean="0">
                <a:solidFill>
                  <a:srgbClr val="000000"/>
                </a:solidFill>
              </a:rPr>
              <a:t> ja -</a:t>
            </a:r>
            <a:r>
              <a:rPr lang="en-US" sz="1200" dirty="0" err="1" smtClean="0">
                <a:solidFill>
                  <a:srgbClr val="000000"/>
                </a:solidFill>
              </a:rPr>
              <a:t>koulutukset</a:t>
            </a:r>
            <a:r>
              <a:rPr lang="en-US" sz="1200" dirty="0" smtClean="0">
                <a:solidFill>
                  <a:srgbClr val="000000"/>
                </a:solidFill>
              </a:rPr>
              <a:t>, </a:t>
            </a:r>
            <a:r>
              <a:rPr lang="en-US" sz="1200" dirty="0" err="1" smtClean="0">
                <a:solidFill>
                  <a:srgbClr val="000000"/>
                </a:solidFill>
              </a:rPr>
              <a:t>ennakkojulkistukset</a:t>
            </a:r>
            <a:endParaRPr lang="en-US" sz="1200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000000"/>
                </a:solidFill>
              </a:rPr>
              <a:t>Mahdollisuu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yhteismarkkinointiin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200" dirty="0" err="1" smtClean="0">
                <a:solidFill>
                  <a:srgbClr val="000000"/>
                </a:solidFill>
              </a:rPr>
              <a:t>Suoramarkkinointi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>
                <a:solidFill>
                  <a:srgbClr val="000000"/>
                </a:solidFill>
              </a:rPr>
              <a:t>tapahtumat</a:t>
            </a:r>
            <a:r>
              <a:rPr lang="en-US" sz="1200" dirty="0">
                <a:solidFill>
                  <a:srgbClr val="000000"/>
                </a:solidFill>
              </a:rPr>
              <a:t>, </a:t>
            </a:r>
            <a:r>
              <a:rPr lang="en-US" sz="1200" dirty="0" err="1" smtClean="0">
                <a:solidFill>
                  <a:srgbClr val="000000"/>
                </a:solidFill>
              </a:rPr>
              <a:t>rahoitustuki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>
                <a:solidFill>
                  <a:srgbClr val="000000"/>
                </a:solidFill>
              </a:rPr>
              <a:t>jne</a:t>
            </a:r>
            <a:r>
              <a:rPr lang="en-US" sz="1200" dirty="0">
                <a:solidFill>
                  <a:srgbClr val="000000"/>
                </a:solidFill>
              </a:rPr>
              <a:t>.</a:t>
            </a: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000000"/>
                </a:solidFill>
              </a:rPr>
              <a:t>Liidiohjelmat</a:t>
            </a:r>
            <a:endParaRPr lang="en-US" sz="1600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dirty="0" err="1">
                <a:solidFill>
                  <a:srgbClr val="000000"/>
                </a:solidFill>
              </a:rPr>
              <a:t>Mahdollisuus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jälkihyvitysohjelmaan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01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8574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3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9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4" name="Group 63"/>
          <p:cNvGrpSpPr/>
          <p:nvPr/>
        </p:nvGrpSpPr>
        <p:grpSpPr>
          <a:xfrm>
            <a:off x="830282" y="1131592"/>
            <a:ext cx="7414125" cy="3757949"/>
            <a:chOff x="663136" y="1128818"/>
            <a:chExt cx="6003434" cy="1669481"/>
          </a:xfrm>
        </p:grpSpPr>
        <p:sp>
          <p:nvSpPr>
            <p:cNvPr id="66" name="Freihandform 18"/>
            <p:cNvSpPr/>
            <p:nvPr/>
          </p:nvSpPr>
          <p:spPr bwMode="gray">
            <a:xfrm>
              <a:off x="766407" y="2031190"/>
              <a:ext cx="2693279" cy="466605"/>
            </a:xfrm>
            <a:custGeom>
              <a:avLst/>
              <a:gdLst>
                <a:gd name="connsiteX0" fmla="*/ 0 w 4463512"/>
                <a:gd name="connsiteY0" fmla="*/ 658678 h 658678"/>
                <a:gd name="connsiteX1" fmla="*/ 3022170 w 4463512"/>
                <a:gd name="connsiteY1" fmla="*/ 658678 h 658678"/>
                <a:gd name="connsiteX2" fmla="*/ 3680848 w 4463512"/>
                <a:gd name="connsiteY2" fmla="*/ 0 h 658678"/>
                <a:gd name="connsiteX3" fmla="*/ 4463512 w 4463512"/>
                <a:gd name="connsiteY3" fmla="*/ 0 h 658678"/>
                <a:gd name="connsiteX0" fmla="*/ 0 w 3680848"/>
                <a:gd name="connsiteY0" fmla="*/ 658678 h 658678"/>
                <a:gd name="connsiteX1" fmla="*/ 3022170 w 3680848"/>
                <a:gd name="connsiteY1" fmla="*/ 658678 h 658678"/>
                <a:gd name="connsiteX2" fmla="*/ 3680848 w 3680848"/>
                <a:gd name="connsiteY2" fmla="*/ 0 h 658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680848" h="658678">
                  <a:moveTo>
                    <a:pt x="0" y="658678"/>
                  </a:moveTo>
                  <a:lnTo>
                    <a:pt x="3022170" y="658678"/>
                  </a:lnTo>
                  <a:lnTo>
                    <a:pt x="3680848" y="0"/>
                  </a:lnTo>
                </a:path>
              </a:pathLst>
            </a:custGeom>
            <a:ln w="12700" cap="rnd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050" dirty="0">
                <a:latin typeface="+mj-lt"/>
              </a:endParaRPr>
            </a:p>
          </p:txBody>
        </p:sp>
        <p:sp>
          <p:nvSpPr>
            <p:cNvPr id="104" name="Ellipse 21"/>
            <p:cNvSpPr/>
            <p:nvPr/>
          </p:nvSpPr>
          <p:spPr bwMode="gray">
            <a:xfrm>
              <a:off x="663136" y="2451449"/>
              <a:ext cx="102629" cy="102629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  <a:miter lim="800000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0"/>
                </a:spcBef>
              </a:pPr>
              <a:endParaRPr lang="en-US" sz="1050" dirty="0" smtClean="0">
                <a:solidFill>
                  <a:schemeClr val="accent5"/>
                </a:solidFill>
                <a:latin typeface="+mj-lt"/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663136" y="2516070"/>
              <a:ext cx="6003434" cy="282229"/>
              <a:chOff x="663136" y="2859782"/>
              <a:chExt cx="6003434" cy="282229"/>
            </a:xfrm>
          </p:grpSpPr>
          <p:sp>
            <p:nvSpPr>
              <p:cNvPr id="89" name="Parallelogramm 68"/>
              <p:cNvSpPr/>
              <p:nvPr>
                <p:custDataLst>
                  <p:tags r:id="rId3"/>
                </p:custDataLst>
              </p:nvPr>
            </p:nvSpPr>
            <p:spPr bwMode="gray">
              <a:xfrm>
                <a:off x="663136" y="2944059"/>
                <a:ext cx="6003434" cy="143638"/>
              </a:xfrm>
              <a:custGeom>
                <a:avLst/>
                <a:gdLst/>
                <a:ahLst/>
                <a:cxnLst/>
                <a:rect l="l" t="t" r="r" b="b"/>
                <a:pathLst>
                  <a:path w="5940152" h="396044">
                    <a:moveTo>
                      <a:pt x="250130" y="0"/>
                    </a:moveTo>
                    <a:lnTo>
                      <a:pt x="5940152" y="0"/>
                    </a:lnTo>
                    <a:lnTo>
                      <a:pt x="5940152" y="396044"/>
                    </a:lnTo>
                    <a:lnTo>
                      <a:pt x="0" y="396044"/>
                    </a:lnTo>
                    <a:close/>
                  </a:path>
                </a:pathLst>
              </a:custGeom>
              <a:gradFill flip="none" rotWithShape="1">
                <a:gsLst>
                  <a:gs pos="30000">
                    <a:schemeClr val="accent2"/>
                  </a:gs>
                  <a:gs pos="100000">
                    <a:schemeClr val="accent1"/>
                  </a:gs>
                </a:gsLst>
                <a:lin ang="16200000" scaled="1"/>
                <a:tileRect/>
              </a:gra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bIns="46800" rtlCol="0" anchor="ctr" anchorCtr="0"/>
              <a:lstStyle/>
              <a:p>
                <a:endParaRPr lang="en-US" sz="10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90" name="Rechteck 69"/>
              <p:cNvSpPr/>
              <p:nvPr/>
            </p:nvSpPr>
            <p:spPr bwMode="gray">
              <a:xfrm>
                <a:off x="955513" y="2859782"/>
                <a:ext cx="5532312" cy="282229"/>
              </a:xfrm>
              <a:prstGeom prst="rect">
                <a:avLst/>
              </a:prstGeom>
              <a:no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46800" rtlCol="0" anchor="ctr" anchorCtr="0"/>
              <a:lstStyle/>
              <a:p>
                <a:pPr algn="r"/>
                <a:r>
                  <a:rPr lang="en-US" sz="1000" b="1" dirty="0" smtClean="0">
                    <a:solidFill>
                      <a:schemeClr val="bg1"/>
                    </a:solidFill>
                    <a:latin typeface="Fujitsu Sans" panose="020B0404060202020204" pitchFamily="34" charset="0"/>
                  </a:rPr>
                  <a:t>SELECT Partner Program </a:t>
                </a:r>
                <a:endParaRPr lang="en-US" sz="1000" b="1" dirty="0">
                  <a:solidFill>
                    <a:schemeClr val="bg1"/>
                  </a:solidFill>
                  <a:latin typeface="Fujitsu Sans" panose="020B0404060202020204" pitchFamily="34" charset="0"/>
                </a:endParaRPr>
              </a:p>
            </p:txBody>
          </p:sp>
        </p:grpSp>
        <p:grpSp>
          <p:nvGrpSpPr>
            <p:cNvPr id="76" name="Gruppieren 7"/>
            <p:cNvGrpSpPr/>
            <p:nvPr/>
          </p:nvGrpSpPr>
          <p:grpSpPr>
            <a:xfrm>
              <a:off x="3496638" y="1128818"/>
              <a:ext cx="1733485" cy="902372"/>
              <a:chOff x="4695739" y="1276325"/>
              <a:chExt cx="2432544" cy="1266274"/>
            </a:xfrm>
          </p:grpSpPr>
          <p:sp>
            <p:nvSpPr>
              <p:cNvPr id="81" name="Ellipse 49"/>
              <p:cNvSpPr/>
              <p:nvPr/>
            </p:nvSpPr>
            <p:spPr bwMode="gray">
              <a:xfrm>
                <a:off x="6408203" y="1276325"/>
                <a:ext cx="720080" cy="72008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 sz="1050" dirty="0" smtClean="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2" name="Ellipse 31"/>
              <p:cNvSpPr/>
              <p:nvPr/>
            </p:nvSpPr>
            <p:spPr bwMode="gray">
              <a:xfrm>
                <a:off x="4695739" y="2398583"/>
                <a:ext cx="144016" cy="144016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  <a:miter lim="800000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endParaRPr lang="en-US" sz="1050" dirty="0" smtClean="0">
                  <a:solidFill>
                    <a:schemeClr val="accent5"/>
                  </a:solidFill>
                  <a:latin typeface="+mj-lt"/>
                </a:endParaRPr>
              </a:p>
            </p:txBody>
          </p:sp>
        </p:grpSp>
        <p:sp>
          <p:nvSpPr>
            <p:cNvPr id="77" name="Freihandform 27"/>
            <p:cNvSpPr/>
            <p:nvPr/>
          </p:nvSpPr>
          <p:spPr bwMode="gray">
            <a:xfrm flipV="1">
              <a:off x="3599482" y="1975595"/>
              <a:ext cx="1667721" cy="0"/>
            </a:xfrm>
            <a:custGeom>
              <a:avLst/>
              <a:gdLst>
                <a:gd name="connsiteX0" fmla="*/ 0 w 3859078"/>
                <a:gd name="connsiteY0" fmla="*/ 650929 h 650929"/>
                <a:gd name="connsiteX1" fmla="*/ 3208149 w 3859078"/>
                <a:gd name="connsiteY1" fmla="*/ 650929 h 650929"/>
                <a:gd name="connsiteX2" fmla="*/ 3859078 w 3859078"/>
                <a:gd name="connsiteY2" fmla="*/ 0 h 650929"/>
                <a:gd name="connsiteX0" fmla="*/ 0 w 3208149"/>
                <a:gd name="connsiteY0" fmla="*/ 0 h 0"/>
                <a:gd name="connsiteX1" fmla="*/ 3208149 w 3208149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8149">
                  <a:moveTo>
                    <a:pt x="0" y="0"/>
                  </a:moveTo>
                  <a:lnTo>
                    <a:pt x="3208149" y="0"/>
                  </a:ln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latin typeface="+mj-lt"/>
              </a:endParaRPr>
            </a:p>
          </p:txBody>
        </p:sp>
      </p:grpSp>
      <p:pic>
        <p:nvPicPr>
          <p:cNvPr id="86" name="Grafik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1246585"/>
            <a:ext cx="1614248" cy="1613198"/>
          </a:xfrm>
          <a:prstGeom prst="rect">
            <a:avLst/>
          </a:prstGeom>
        </p:spPr>
      </p:pic>
      <p:sp>
        <p:nvSpPr>
          <p:cNvPr id="88" name="Title 1"/>
          <p:cNvSpPr>
            <a:spLocks noGrp="1"/>
          </p:cNvSpPr>
          <p:nvPr>
            <p:ph type="title"/>
          </p:nvPr>
        </p:nvSpPr>
        <p:spPr>
          <a:xfrm>
            <a:off x="179512" y="51470"/>
            <a:ext cx="7561264" cy="770953"/>
          </a:xfrm>
        </p:spPr>
        <p:txBody>
          <a:bodyPr/>
          <a:lstStyle/>
          <a:p>
            <a:r>
              <a:rPr lang="de-DE" dirty="0" smtClean="0"/>
              <a:t>SELECT Partner -</a:t>
            </a:r>
            <a:r>
              <a:rPr lang="de-DE" dirty="0" err="1" smtClean="0"/>
              <a:t>ohjelman</a:t>
            </a:r>
            <a:r>
              <a:rPr lang="de-DE" dirty="0" smtClean="0"/>
              <a:t> </a:t>
            </a:r>
            <a:r>
              <a:rPr lang="de-DE" dirty="0" err="1" smtClean="0"/>
              <a:t>rakenne</a:t>
            </a:r>
            <a:r>
              <a:rPr lang="de-DE" dirty="0" smtClean="0"/>
              <a:t> 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2305711"/>
            <a:ext cx="1584176" cy="158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491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 err="1" smtClean="0"/>
              <a:t>Neljä</a:t>
            </a:r>
            <a:r>
              <a:rPr lang="de-DE" dirty="0" smtClean="0"/>
              <a:t> </a:t>
            </a:r>
            <a:r>
              <a:rPr lang="de-DE" dirty="0" err="1" smtClean="0"/>
              <a:t>erikoistumispolkua</a:t>
            </a:r>
            <a:endParaRPr lang="de-DE" dirty="0"/>
          </a:p>
        </p:txBody>
      </p:sp>
      <p:pic>
        <p:nvPicPr>
          <p:cNvPr id="6" name="Grafik 5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2147" y="1347614"/>
            <a:ext cx="1151105" cy="1272170"/>
          </a:xfrm>
          <a:prstGeom prst="rect">
            <a:avLst/>
          </a:prstGeom>
        </p:spPr>
      </p:pic>
      <p:pic>
        <p:nvPicPr>
          <p:cNvPr id="7" name="Grafik 6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8809" y="1347614"/>
            <a:ext cx="1151105" cy="1272170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4673" y="2691793"/>
            <a:ext cx="1151105" cy="1272170"/>
          </a:xfrm>
          <a:prstGeom prst="rect">
            <a:avLst/>
          </a:prstGeom>
        </p:spPr>
      </p:pic>
      <p:pic>
        <p:nvPicPr>
          <p:cNvPr id="14" name="Grafik 13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1335" y="2691793"/>
            <a:ext cx="1151105" cy="1272170"/>
          </a:xfrm>
          <a:prstGeom prst="rect">
            <a:avLst/>
          </a:prstGeom>
        </p:spPr>
      </p:pic>
      <p:pic>
        <p:nvPicPr>
          <p:cNvPr id="11" name="Picture 35" descr="Full screen preview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16" y="108392"/>
            <a:ext cx="648000" cy="663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288032" y="1347614"/>
            <a:ext cx="5508104" cy="23483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Mobility Solutions = </a:t>
            </a:r>
            <a:r>
              <a:rPr lang="en-US" dirty="0" err="1" smtClean="0">
                <a:solidFill>
                  <a:srgbClr val="000000"/>
                </a:solidFill>
              </a:rPr>
              <a:t>kannettavat</a:t>
            </a:r>
            <a:r>
              <a:rPr lang="en-US" dirty="0" smtClean="0">
                <a:solidFill>
                  <a:srgbClr val="000000"/>
                </a:solidFill>
              </a:rPr>
              <a:t> &amp; </a:t>
            </a:r>
            <a:r>
              <a:rPr lang="en-US" dirty="0" err="1" smtClean="0">
                <a:solidFill>
                  <a:srgbClr val="000000"/>
                </a:solidFill>
              </a:rPr>
              <a:t>tabletit</a:t>
            </a:r>
            <a:endParaRPr lang="en-US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Workstations = </a:t>
            </a:r>
            <a:r>
              <a:rPr lang="en-US" dirty="0" err="1" smtClean="0">
                <a:solidFill>
                  <a:srgbClr val="000000"/>
                </a:solidFill>
              </a:rPr>
              <a:t>tehotyöasemat</a:t>
            </a:r>
            <a:endParaRPr lang="en-US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Server Infrastructures = </a:t>
            </a:r>
            <a:r>
              <a:rPr lang="en-US" dirty="0" err="1" smtClean="0">
                <a:solidFill>
                  <a:srgbClr val="000000"/>
                </a:solidFill>
              </a:rPr>
              <a:t>palvelinjärjestelmät</a:t>
            </a:r>
            <a:endParaRPr lang="en-US" dirty="0" smtClean="0">
              <a:solidFill>
                <a:srgbClr val="000000"/>
              </a:solidFill>
            </a:endParaRPr>
          </a:p>
          <a:p>
            <a:pPr marL="814388" lvl="1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000000"/>
                </a:solidFill>
              </a:rPr>
              <a:t>Kaksi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vaihtoehtoa</a:t>
            </a:r>
            <a:r>
              <a:rPr lang="en-US" sz="1400" dirty="0" smtClean="0">
                <a:solidFill>
                  <a:srgbClr val="000000"/>
                </a:solidFill>
              </a:rPr>
              <a:t>, </a:t>
            </a:r>
            <a:r>
              <a:rPr lang="en-US" sz="1400" dirty="0" err="1" smtClean="0">
                <a:solidFill>
                  <a:srgbClr val="000000"/>
                </a:solidFill>
              </a:rPr>
              <a:t>joista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vähintään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toinen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tulee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suorittaa</a:t>
            </a:r>
            <a:r>
              <a:rPr lang="en-US" sz="1400" dirty="0" smtClean="0">
                <a:solidFill>
                  <a:srgbClr val="000000"/>
                </a:solidFill>
              </a:rPr>
              <a:t>: ‘</a:t>
            </a:r>
            <a:r>
              <a:rPr lang="en-US" sz="1400" dirty="0" err="1" smtClean="0">
                <a:solidFill>
                  <a:srgbClr val="000000"/>
                </a:solidFill>
              </a:rPr>
              <a:t>perustaso</a:t>
            </a:r>
            <a:r>
              <a:rPr lang="en-US" sz="1400" dirty="0" smtClean="0">
                <a:solidFill>
                  <a:srgbClr val="000000"/>
                </a:solidFill>
              </a:rPr>
              <a:t>’ ja/tai ‘</a:t>
            </a:r>
            <a:r>
              <a:rPr lang="en-US" sz="1400" dirty="0" err="1" smtClean="0">
                <a:solidFill>
                  <a:srgbClr val="000000"/>
                </a:solidFill>
              </a:rPr>
              <a:t>vaativammat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konesaliratkaisut</a:t>
            </a:r>
            <a:r>
              <a:rPr lang="en-US" sz="1400" dirty="0" smtClean="0">
                <a:solidFill>
                  <a:srgbClr val="000000"/>
                </a:solidFill>
              </a:rPr>
              <a:t>’</a:t>
            </a:r>
          </a:p>
          <a:p>
            <a:pPr marL="357188" lvl="1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Storage Infrastructures = </a:t>
            </a:r>
            <a:r>
              <a:rPr lang="en-US" dirty="0" err="1" smtClean="0">
                <a:solidFill>
                  <a:srgbClr val="000000"/>
                </a:solidFill>
              </a:rPr>
              <a:t>tallennusjärjestelmät</a:t>
            </a:r>
            <a:endParaRPr lang="en-US" dirty="0" smtClean="0">
              <a:solidFill>
                <a:srgbClr val="000000"/>
              </a:solidFill>
            </a:endParaRPr>
          </a:p>
          <a:p>
            <a:pPr marL="814388" lvl="2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000000"/>
                </a:solidFill>
              </a:rPr>
              <a:t>Kaksi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vaihtoehtoa</a:t>
            </a:r>
            <a:r>
              <a:rPr lang="en-US" sz="1400" dirty="0">
                <a:solidFill>
                  <a:srgbClr val="000000"/>
                </a:solidFill>
              </a:rPr>
              <a:t>, </a:t>
            </a:r>
            <a:r>
              <a:rPr lang="en-US" sz="1400" dirty="0" err="1">
                <a:solidFill>
                  <a:srgbClr val="000000"/>
                </a:solidFill>
              </a:rPr>
              <a:t>joist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vähintää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toinen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tulee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err="1">
                <a:solidFill>
                  <a:srgbClr val="000000"/>
                </a:solidFill>
              </a:rPr>
              <a:t>suorittaa</a:t>
            </a:r>
            <a:r>
              <a:rPr lang="en-US" sz="1400" dirty="0">
                <a:solidFill>
                  <a:srgbClr val="000000"/>
                </a:solidFill>
              </a:rPr>
              <a:t>: </a:t>
            </a:r>
            <a:r>
              <a:rPr lang="en-US" sz="1400" dirty="0" err="1">
                <a:solidFill>
                  <a:srgbClr val="000000"/>
                </a:solidFill>
              </a:rPr>
              <a:t>tallenusratkaisut</a:t>
            </a:r>
            <a:r>
              <a:rPr lang="en-US" sz="1400" dirty="0">
                <a:solidFill>
                  <a:srgbClr val="000000"/>
                </a:solidFill>
              </a:rPr>
              <a:t> ja/tai </a:t>
            </a:r>
            <a:r>
              <a:rPr lang="en-US" sz="1400" dirty="0" err="1" smtClean="0">
                <a:solidFill>
                  <a:srgbClr val="000000"/>
                </a:solidFill>
              </a:rPr>
              <a:t>varmistusratkaisut</a:t>
            </a: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103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>
            <a:off x="-180528" y="3827785"/>
            <a:ext cx="9649072" cy="1112019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fi-FI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 err="1" smtClean="0"/>
              <a:t>Helppoa</a:t>
            </a:r>
            <a:r>
              <a:rPr lang="de-DE" dirty="0" smtClean="0"/>
              <a:t>, </a:t>
            </a:r>
            <a:r>
              <a:rPr lang="de-DE" dirty="0" err="1" smtClean="0"/>
              <a:t>joustavaa</a:t>
            </a:r>
            <a:r>
              <a:rPr lang="de-DE" dirty="0" smtClean="0"/>
              <a:t>, </a:t>
            </a:r>
            <a:r>
              <a:rPr lang="de-DE" dirty="0" err="1" smtClean="0"/>
              <a:t>järkevää</a:t>
            </a:r>
            <a:endParaRPr lang="de-DE" dirty="0"/>
          </a:p>
        </p:txBody>
      </p:sp>
      <p:pic>
        <p:nvPicPr>
          <p:cNvPr id="11" name="Picture 35" descr="Full screen preview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16" y="108392"/>
            <a:ext cx="648000" cy="6631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395536" y="915566"/>
            <a:ext cx="8136904" cy="3950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Char char=""/>
            </a:pPr>
            <a:r>
              <a:rPr lang="en-US" dirty="0" err="1" smtClean="0">
                <a:solidFill>
                  <a:srgbClr val="000000"/>
                </a:solidFill>
              </a:rPr>
              <a:t>Kurssit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suoritetaan</a:t>
            </a:r>
            <a:endParaRPr lang="en-US" dirty="0" smtClean="0">
              <a:solidFill>
                <a:srgbClr val="000000"/>
              </a:solidFill>
            </a:endParaRPr>
          </a:p>
          <a:p>
            <a:pPr marL="814388" lvl="1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Ø"/>
            </a:pPr>
            <a:r>
              <a:rPr lang="en-US" sz="1400" dirty="0" err="1" smtClean="0">
                <a:solidFill>
                  <a:srgbClr val="000000"/>
                </a:solidFill>
              </a:rPr>
              <a:t>Pääosin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webbikursseina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</a:t>
            </a:r>
            <a:r>
              <a:rPr lang="en-US" sz="14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Fujitsun</a:t>
            </a:r>
            <a:r>
              <a:rPr lang="en-US" sz="14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en-US" sz="1400" dirty="0" smtClean="0">
                <a:solidFill>
                  <a:srgbClr val="000000"/>
                </a:solidFill>
              </a:rPr>
              <a:t>FIOLA-</a:t>
            </a:r>
            <a:r>
              <a:rPr lang="en-US" sz="1400" dirty="0" err="1" smtClean="0">
                <a:solidFill>
                  <a:srgbClr val="000000"/>
                </a:solidFill>
              </a:rPr>
              <a:t>järjestelmä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14388" lvl="1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Ø"/>
            </a:pPr>
            <a:r>
              <a:rPr lang="en-US" sz="1400" dirty="0" err="1" smtClean="0">
                <a:solidFill>
                  <a:srgbClr val="000000"/>
                </a:solidFill>
              </a:rPr>
              <a:t>Osan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webbikursseista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voi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korvata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RoadShow-koulutustapahtumissa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14388" lvl="1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Ø"/>
            </a:pPr>
            <a:r>
              <a:rPr lang="en-US" sz="1400" dirty="0" err="1" smtClean="0">
                <a:solidFill>
                  <a:srgbClr val="000000"/>
                </a:solidFill>
              </a:rPr>
              <a:t>Luokkakoulutuksina</a:t>
            </a:r>
            <a:r>
              <a:rPr lang="en-US" sz="1400" dirty="0">
                <a:solidFill>
                  <a:srgbClr val="000000"/>
                </a:solidFill>
              </a:rPr>
              <a:t> </a:t>
            </a:r>
            <a:r>
              <a:rPr lang="en-US" sz="140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</a:t>
            </a:r>
            <a:r>
              <a:rPr lang="en-US" sz="14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palvelin</a:t>
            </a:r>
            <a:r>
              <a:rPr lang="en-US" sz="1400" dirty="0" smtClean="0">
                <a:solidFill>
                  <a:srgbClr val="000000"/>
                </a:solidFill>
                <a:sym typeface="Wingdings" panose="05000000000000000000" pitchFamily="2" charset="2"/>
              </a:rPr>
              <a:t>- ja </a:t>
            </a:r>
            <a:r>
              <a:rPr lang="en-US" sz="1400" dirty="0" err="1" smtClean="0">
                <a:solidFill>
                  <a:srgbClr val="000000"/>
                </a:solidFill>
                <a:sym typeface="Wingdings" panose="05000000000000000000" pitchFamily="2" charset="2"/>
              </a:rPr>
              <a:t>tallennusjärjestelmien</a:t>
            </a:r>
            <a:r>
              <a:rPr lang="en-US" sz="1400" dirty="0" smtClean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en-US" sz="1400" dirty="0" smtClean="0">
                <a:solidFill>
                  <a:srgbClr val="000000"/>
                </a:solidFill>
              </a:rPr>
              <a:t>Installation-</a:t>
            </a:r>
            <a:r>
              <a:rPr lang="en-US" sz="1400" dirty="0" err="1" smtClean="0">
                <a:solidFill>
                  <a:srgbClr val="000000"/>
                </a:solidFill>
              </a:rPr>
              <a:t>kurssit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14388" lvl="1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Ø"/>
            </a:pPr>
            <a:r>
              <a:rPr lang="en-US" sz="1400" dirty="0" err="1" smtClean="0">
                <a:solidFill>
                  <a:srgbClr val="000000"/>
                </a:solidFill>
              </a:rPr>
              <a:t>Luokkakoulutukset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maksuttomia</a:t>
            </a:r>
            <a:r>
              <a:rPr lang="en-US" sz="1400" dirty="0" smtClean="0">
                <a:solidFill>
                  <a:srgbClr val="000000"/>
                </a:solidFill>
              </a:rPr>
              <a:t> (</a:t>
            </a:r>
            <a:r>
              <a:rPr lang="en-US" sz="1400" dirty="0" err="1" smtClean="0">
                <a:solidFill>
                  <a:srgbClr val="000000"/>
                </a:solidFill>
              </a:rPr>
              <a:t>peruuttamattomasta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osallistumisesta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 err="1" smtClean="0">
                <a:solidFill>
                  <a:srgbClr val="000000"/>
                </a:solidFill>
              </a:rPr>
              <a:t>maksu</a:t>
            </a:r>
            <a:r>
              <a:rPr lang="en-US" sz="1400" dirty="0" smtClean="0">
                <a:solidFill>
                  <a:srgbClr val="000000"/>
                </a:solidFill>
              </a:rPr>
              <a:t>)</a:t>
            </a:r>
            <a:endParaRPr lang="en-US" sz="1400" dirty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Char char=""/>
            </a:pPr>
            <a:r>
              <a:rPr lang="en-US" dirty="0" err="1" smtClean="0">
                <a:solidFill>
                  <a:srgbClr val="000000"/>
                </a:solidFill>
              </a:rPr>
              <a:t>Palvelin</a:t>
            </a:r>
            <a:r>
              <a:rPr lang="en-US" dirty="0" smtClean="0">
                <a:solidFill>
                  <a:srgbClr val="000000"/>
                </a:solidFill>
              </a:rPr>
              <a:t>- ja </a:t>
            </a:r>
            <a:r>
              <a:rPr lang="en-US" dirty="0" err="1" smtClean="0">
                <a:solidFill>
                  <a:srgbClr val="000000"/>
                </a:solidFill>
              </a:rPr>
              <a:t>tallennusjärjestelmissä</a:t>
            </a:r>
            <a:r>
              <a:rPr lang="en-US" dirty="0" smtClean="0">
                <a:solidFill>
                  <a:srgbClr val="000000"/>
                </a:solidFill>
              </a:rPr>
              <a:t> Installation-</a:t>
            </a:r>
            <a:r>
              <a:rPr lang="en-US" dirty="0" err="1" smtClean="0">
                <a:solidFill>
                  <a:srgbClr val="000000"/>
                </a:solidFill>
              </a:rPr>
              <a:t>kursseissa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vapaavuosimahdollisuus</a:t>
            </a:r>
            <a:r>
              <a:rPr lang="en-US" dirty="0" smtClean="0">
                <a:solidFill>
                  <a:srgbClr val="000000"/>
                </a:solidFill>
              </a:rPr>
              <a:t> (</a:t>
            </a:r>
            <a:r>
              <a:rPr lang="en-US" dirty="0" err="1" smtClean="0">
                <a:solidFill>
                  <a:srgbClr val="000000"/>
                </a:solidFill>
              </a:rPr>
              <a:t>ostot</a:t>
            </a:r>
            <a:r>
              <a:rPr lang="en-US" dirty="0" smtClean="0">
                <a:solidFill>
                  <a:srgbClr val="000000"/>
                </a:solidFill>
              </a:rPr>
              <a:t> &gt;</a:t>
            </a:r>
            <a:r>
              <a:rPr lang="en-US" dirty="0" err="1" smtClean="0">
                <a:solidFill>
                  <a:srgbClr val="000000"/>
                </a:solidFill>
              </a:rPr>
              <a:t>80k</a:t>
            </a:r>
            <a:r>
              <a:rPr lang="en-US" dirty="0" smtClean="0">
                <a:solidFill>
                  <a:srgbClr val="000000"/>
                </a:solidFill>
              </a:rPr>
              <a:t>€ </a:t>
            </a:r>
            <a:r>
              <a:rPr lang="en-US" dirty="0" err="1" smtClean="0">
                <a:solidFill>
                  <a:srgbClr val="000000"/>
                </a:solidFill>
              </a:rPr>
              <a:t>vuodessa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Char char=""/>
            </a:pPr>
            <a:r>
              <a:rPr lang="en-US" dirty="0" err="1" smtClean="0">
                <a:solidFill>
                  <a:srgbClr val="000000"/>
                </a:solidFill>
              </a:rPr>
              <a:t>Voimassaolevat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suoritukset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siirretään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automaattisesti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uuteen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järjestelmään</a:t>
            </a:r>
            <a:endParaRPr lang="en-US" dirty="0" smtClean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Char char=""/>
            </a:pPr>
            <a:r>
              <a:rPr lang="en-US" dirty="0" err="1" smtClean="0">
                <a:solidFill>
                  <a:srgbClr val="000000"/>
                </a:solidFill>
              </a:rPr>
              <a:t>Asiantuntijoille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oma</a:t>
            </a:r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i="1" dirty="0" smtClean="0">
                <a:solidFill>
                  <a:srgbClr val="000000"/>
                </a:solidFill>
              </a:rPr>
              <a:t>Tech Community</a:t>
            </a:r>
          </a:p>
          <a:p>
            <a:pPr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b="1" dirty="0" err="1" smtClean="0">
                <a:solidFill>
                  <a:srgbClr val="C00000"/>
                </a:solidFill>
              </a:rPr>
              <a:t>Helppo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600" dirty="0" err="1" smtClean="0">
                <a:solidFill>
                  <a:srgbClr val="000000"/>
                </a:solidFill>
              </a:rPr>
              <a:t>vähemmän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matkustamista</a:t>
            </a:r>
            <a:r>
              <a:rPr lang="en-US" sz="1600" dirty="0" smtClean="0">
                <a:solidFill>
                  <a:srgbClr val="000000"/>
                </a:solidFill>
              </a:rPr>
              <a:t> ja </a:t>
            </a:r>
            <a:r>
              <a:rPr lang="en-US" sz="1600" dirty="0" err="1" smtClean="0">
                <a:solidFill>
                  <a:srgbClr val="000000"/>
                </a:solidFill>
              </a:rPr>
              <a:t>vähemmän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kustannuksia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b="1" dirty="0" err="1" smtClean="0">
                <a:solidFill>
                  <a:srgbClr val="C00000"/>
                </a:solidFill>
              </a:rPr>
              <a:t>Joustava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600" dirty="0" err="1" smtClean="0">
                <a:solidFill>
                  <a:srgbClr val="000000"/>
                </a:solidFill>
              </a:rPr>
              <a:t>webbikursseja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voi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suorittaa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osissa</a:t>
            </a:r>
            <a:r>
              <a:rPr lang="en-US" sz="1600" dirty="0" smtClean="0">
                <a:solidFill>
                  <a:srgbClr val="000000"/>
                </a:solidFill>
              </a:rPr>
              <a:t>, </a:t>
            </a:r>
            <a:r>
              <a:rPr lang="en-US" sz="1600" dirty="0" err="1" smtClean="0">
                <a:solidFill>
                  <a:srgbClr val="000000"/>
                </a:solidFill>
              </a:rPr>
              <a:t>itselle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sopivaan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aikaan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357188" indent="-357188">
              <a:lnSpc>
                <a:spcPct val="95000"/>
              </a:lnSpc>
              <a:spcBef>
                <a:spcPts val="400"/>
              </a:spcBef>
              <a:spcAft>
                <a:spcPts val="200"/>
              </a:spcAft>
              <a:buClr>
                <a:srgbClr val="A30B1A"/>
              </a:buClr>
              <a:buFont typeface="Wingdings" panose="05000000000000000000" pitchFamily="2" charset="2"/>
              <a:buChar char="v"/>
            </a:pPr>
            <a:r>
              <a:rPr lang="en-US" sz="1600" b="1" dirty="0" err="1" smtClean="0">
                <a:solidFill>
                  <a:srgbClr val="C00000"/>
                </a:solidFill>
              </a:rPr>
              <a:t>Järkevä</a:t>
            </a:r>
            <a:r>
              <a:rPr lang="en-US" sz="1600" dirty="0" smtClean="0">
                <a:solidFill>
                  <a:srgbClr val="000000"/>
                </a:solidFill>
              </a:rPr>
              <a:t>: </a:t>
            </a:r>
            <a:r>
              <a:rPr lang="en-US" sz="1600" dirty="0" err="1" smtClean="0">
                <a:solidFill>
                  <a:srgbClr val="000000"/>
                </a:solidFill>
              </a:rPr>
              <a:t>asennuskurssien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vapaavuosi</a:t>
            </a:r>
            <a:r>
              <a:rPr lang="en-US" sz="1600" dirty="0" smtClean="0">
                <a:solidFill>
                  <a:srgbClr val="000000"/>
                </a:solidFill>
              </a:rPr>
              <a:t>, </a:t>
            </a:r>
            <a:r>
              <a:rPr lang="en-US" sz="1600" dirty="0" err="1" smtClean="0">
                <a:solidFill>
                  <a:srgbClr val="000000"/>
                </a:solidFill>
              </a:rPr>
              <a:t>jos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riittävästi</a:t>
            </a:r>
            <a:r>
              <a:rPr lang="en-US" sz="1600" dirty="0" smtClean="0">
                <a:solidFill>
                  <a:srgbClr val="000000"/>
                </a:solidFill>
              </a:rPr>
              <a:t> </a:t>
            </a:r>
            <a:r>
              <a:rPr lang="en-US" sz="1600" dirty="0" err="1" smtClean="0">
                <a:solidFill>
                  <a:srgbClr val="000000"/>
                </a:solidFill>
              </a:rPr>
              <a:t>ostoja</a:t>
            </a:r>
            <a:r>
              <a:rPr lang="en-US" sz="1600" dirty="0" smtClean="0">
                <a:solidFill>
                  <a:srgbClr val="000000"/>
                </a:solidFill>
              </a:rPr>
              <a:t> &amp; </a:t>
            </a:r>
            <a:r>
              <a:rPr lang="en-US" sz="1600" dirty="0" err="1" smtClean="0">
                <a:solidFill>
                  <a:srgbClr val="000000"/>
                </a:solidFill>
              </a:rPr>
              <a:t>osaamista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162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/>
              <a:t> </a:t>
            </a:r>
            <a:r>
              <a:rPr lang="de-DE" dirty="0" err="1" smtClean="0"/>
              <a:t>Kannettavat</a:t>
            </a:r>
            <a:r>
              <a:rPr lang="de-DE" dirty="0" smtClean="0"/>
              <a:t> &amp; </a:t>
            </a:r>
            <a:r>
              <a:rPr lang="de-DE" dirty="0" err="1" smtClean="0"/>
              <a:t>tabletit</a:t>
            </a:r>
            <a:r>
              <a:rPr lang="de-DE" dirty="0" smtClean="0"/>
              <a:t> </a:t>
            </a:r>
            <a:r>
              <a:rPr lang="de-DE" sz="1800" dirty="0" smtClean="0"/>
              <a:t>(Mobility Solutions)</a:t>
            </a:r>
            <a:endParaRPr lang="de-DE" sz="1800" dirty="0"/>
          </a:p>
        </p:txBody>
      </p:sp>
      <p:sp>
        <p:nvSpPr>
          <p:cNvPr id="86" name="AutoShape 36"/>
          <p:cNvSpPr>
            <a:spLocks noChangeArrowheads="1"/>
          </p:cNvSpPr>
          <p:nvPr/>
        </p:nvSpPr>
        <p:spPr bwMode="auto">
          <a:xfrm>
            <a:off x="232400" y="1043704"/>
            <a:ext cx="8660080" cy="3544270"/>
          </a:xfrm>
          <a:prstGeom prst="roundRect">
            <a:avLst>
              <a:gd name="adj" fmla="val 3898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257477" y="1611369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251519" y="2714746"/>
            <a:ext cx="799288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257477" y="3794866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cxnSp>
        <p:nvCxnSpPr>
          <p:cNvPr id="109" name="Gerade Verbindung 108"/>
          <p:cNvCxnSpPr/>
          <p:nvPr/>
        </p:nvCxnSpPr>
        <p:spPr bwMode="auto">
          <a:xfrm>
            <a:off x="2915816" y="1131590"/>
            <a:ext cx="0" cy="358900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Gerade Verbindung 115"/>
          <p:cNvCxnSpPr/>
          <p:nvPr/>
        </p:nvCxnSpPr>
        <p:spPr bwMode="auto">
          <a:xfrm>
            <a:off x="5724128" y="1188931"/>
            <a:ext cx="0" cy="353983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Rectangle 32"/>
          <p:cNvSpPr>
            <a:spLocks noChangeArrowheads="1"/>
          </p:cNvSpPr>
          <p:nvPr/>
        </p:nvSpPr>
        <p:spPr bwMode="auto">
          <a:xfrm>
            <a:off x="8280472" y="1475752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Sales Professionals</a:t>
            </a:r>
          </a:p>
        </p:txBody>
      </p:sp>
      <p:sp>
        <p:nvSpPr>
          <p:cNvPr id="129" name="Rectangle 32"/>
          <p:cNvSpPr>
            <a:spLocks noChangeArrowheads="1"/>
          </p:cNvSpPr>
          <p:nvPr/>
        </p:nvSpPr>
        <p:spPr bwMode="auto">
          <a:xfrm>
            <a:off x="8280472" y="2530954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PreSales Consultants</a:t>
            </a:r>
          </a:p>
        </p:txBody>
      </p:sp>
      <p:sp>
        <p:nvSpPr>
          <p:cNvPr id="130" name="Rectangle 32"/>
          <p:cNvSpPr>
            <a:spLocks noChangeArrowheads="1"/>
          </p:cNvSpPr>
          <p:nvPr/>
        </p:nvSpPr>
        <p:spPr bwMode="auto">
          <a:xfrm>
            <a:off x="8280472" y="3586156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a typeface="MS UI Gothic" pitchFamily="34" charset="-128"/>
              </a:rPr>
              <a:t>System Engineers</a:t>
            </a:r>
            <a:endParaRPr lang="en-US" sz="1000" b="1" dirty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80" name="Rechteck 20"/>
          <p:cNvSpPr/>
          <p:nvPr/>
        </p:nvSpPr>
        <p:spPr bwMode="auto">
          <a:xfrm>
            <a:off x="8280472" y="1097851"/>
            <a:ext cx="540000" cy="3240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8C8C8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r>
              <a:rPr lang="de-DE" sz="2000" b="1" dirty="0" smtClean="0">
                <a:solidFill>
                  <a:srgbClr val="CC0000"/>
                </a:solidFill>
                <a:latin typeface="Arial" charset="0"/>
                <a:ea typeface="MS UI Gothic" pitchFamily="50" charset="-128"/>
              </a:rPr>
              <a:t>6</a:t>
            </a:r>
            <a:endParaRPr lang="de-DE" sz="2000" b="1" dirty="0">
              <a:solidFill>
                <a:srgbClr val="CC0000"/>
              </a:solidFill>
              <a:latin typeface="Arial" charset="0"/>
              <a:ea typeface="MS UI Gothic" pitchFamily="50" charset="-128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395536" y="1452513"/>
            <a:ext cx="648000" cy="900000"/>
            <a:chOff x="395536" y="1324375"/>
            <a:chExt cx="648000" cy="900000"/>
          </a:xfrm>
        </p:grpSpPr>
        <p:sp>
          <p:nvSpPr>
            <p:cNvPr id="11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CCD </a:t>
              </a: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trate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15 min)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77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10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6" name="Gruppieren 25"/>
          <p:cNvGrpSpPr/>
          <p:nvPr/>
        </p:nvGrpSpPr>
        <p:grpSpPr>
          <a:xfrm>
            <a:off x="3098357" y="1472658"/>
            <a:ext cx="648000" cy="900000"/>
            <a:chOff x="3647552" y="1333327"/>
            <a:chExt cx="648000" cy="900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72" name="Rectangle 35"/>
            <p:cNvSpPr>
              <a:spLocks noChangeArrowheads="1"/>
            </p:cNvSpPr>
            <p:nvPr/>
          </p:nvSpPr>
          <p:spPr bwMode="auto">
            <a:xfrm>
              <a:off x="3647552" y="1333327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CD 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User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Profile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trategy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  <a:p>
              <a:pPr algn="ctr"/>
              <a:r>
                <a:rPr lang="en-US" sz="800" b="1" dirty="0" smtClean="0">
                  <a:solidFill>
                    <a:schemeClr val="bg1"/>
                  </a:solidFill>
                  <a:ea typeface="MS UI Gothic" pitchFamily="34" charset="-128"/>
                </a:rPr>
                <a:t>(35 min)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4079552" y="2089327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2" y="2080375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6624248" y="4804014"/>
            <a:ext cx="1906572" cy="144000"/>
            <a:chOff x="6624248" y="4781587"/>
            <a:chExt cx="1906572" cy="144000"/>
          </a:xfrm>
        </p:grpSpPr>
        <p:sp>
          <p:nvSpPr>
            <p:cNvPr id="131" name="Rectangle 33"/>
            <p:cNvSpPr>
              <a:spLocks noChangeArrowheads="1"/>
            </p:cNvSpPr>
            <p:nvPr/>
          </p:nvSpPr>
          <p:spPr bwMode="auto">
            <a:xfrm>
              <a:off x="6807155" y="4781587"/>
              <a:ext cx="1723665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Point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32" name="Rectangle 33"/>
            <p:cNvSpPr>
              <a:spLocks noChangeArrowheads="1"/>
            </p:cNvSpPr>
            <p:nvPr/>
          </p:nvSpPr>
          <p:spPr bwMode="auto">
            <a:xfrm>
              <a:off x="6624248" y="4781587"/>
              <a:ext cx="180000" cy="144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555776" y="4781587"/>
            <a:ext cx="1564714" cy="144000"/>
            <a:chOff x="4283968" y="4781587"/>
            <a:chExt cx="1564714" cy="144000"/>
          </a:xfrm>
        </p:grpSpPr>
        <p:pic>
          <p:nvPicPr>
            <p:cNvPr id="8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26080" y="4781587"/>
              <a:ext cx="210561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pic>
          <p:nvPicPr>
            <p:cNvPr id="10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4781587"/>
              <a:ext cx="213060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sp>
          <p:nvSpPr>
            <p:cNvPr id="155" name="Rectangle 33"/>
            <p:cNvSpPr>
              <a:spLocks noChangeArrowheads="1"/>
            </p:cNvSpPr>
            <p:nvPr/>
          </p:nvSpPr>
          <p:spPr bwMode="auto">
            <a:xfrm>
              <a:off x="4499992" y="4781587"/>
              <a:ext cx="326557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WBT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56" name="Rectangle 33"/>
            <p:cNvSpPr>
              <a:spLocks noChangeArrowheads="1"/>
            </p:cNvSpPr>
            <p:nvPr/>
          </p:nvSpPr>
          <p:spPr bwMode="auto">
            <a:xfrm>
              <a:off x="5220072" y="4781587"/>
              <a:ext cx="628610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Instructor led</a:t>
              </a:r>
              <a:endParaRPr lang="en-US" sz="700" dirty="0">
                <a:ea typeface="MS UI Gothic" pitchFamily="34" charset="-128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319429" y="4793385"/>
            <a:ext cx="2190847" cy="154629"/>
            <a:chOff x="4319429" y="4793385"/>
            <a:chExt cx="2190847" cy="154629"/>
          </a:xfrm>
        </p:grpSpPr>
        <p:sp>
          <p:nvSpPr>
            <p:cNvPr id="176" name="Rectangle 33"/>
            <p:cNvSpPr>
              <a:spLocks noChangeArrowheads="1"/>
            </p:cNvSpPr>
            <p:nvPr/>
          </p:nvSpPr>
          <p:spPr bwMode="auto">
            <a:xfrm>
              <a:off x="4499992" y="4804014"/>
              <a:ext cx="2010284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Mandatory course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77" name="Rectangle 33"/>
            <p:cNvSpPr>
              <a:spLocks noChangeArrowheads="1"/>
            </p:cNvSpPr>
            <p:nvPr/>
          </p:nvSpPr>
          <p:spPr bwMode="auto">
            <a:xfrm>
              <a:off x="4319429" y="4793385"/>
              <a:ext cx="180000" cy="144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91" name="Gruppieren 30"/>
          <p:cNvGrpSpPr/>
          <p:nvPr/>
        </p:nvGrpSpPr>
        <p:grpSpPr>
          <a:xfrm>
            <a:off x="1196690" y="1458353"/>
            <a:ext cx="648000" cy="900000"/>
            <a:chOff x="2885677" y="2424782"/>
            <a:chExt cx="648000" cy="900000"/>
          </a:xfrm>
        </p:grpSpPr>
        <p:sp>
          <p:nvSpPr>
            <p:cNvPr id="93" name="Rectangle 35"/>
            <p:cNvSpPr>
              <a:spLocks noChangeArrowheads="1"/>
            </p:cNvSpPr>
            <p:nvPr/>
          </p:nvSpPr>
          <p:spPr bwMode="auto">
            <a:xfrm>
              <a:off x="2885677" y="2424782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Notebook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Client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</p:txBody>
        </p:sp>
        <p:sp>
          <p:nvSpPr>
            <p:cNvPr id="96" name="Rectangle 33"/>
            <p:cNvSpPr>
              <a:spLocks noChangeArrowheads="1"/>
            </p:cNvSpPr>
            <p:nvPr/>
          </p:nvSpPr>
          <p:spPr bwMode="auto">
            <a:xfrm>
              <a:off x="3317677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pic>
        <p:nvPicPr>
          <p:cNvPr id="98" name="Grafik 37" descr="wbt.png"/>
          <p:cNvPicPr preferRelativeResize="0">
            <a:picLocks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4030" y="2208513"/>
            <a:ext cx="180738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6"/>
          <p:cNvGrpSpPr/>
          <p:nvPr/>
        </p:nvGrpSpPr>
        <p:grpSpPr>
          <a:xfrm>
            <a:off x="1996064" y="1466753"/>
            <a:ext cx="649026" cy="900000"/>
            <a:chOff x="2203022" y="1338615"/>
            <a:chExt cx="649026" cy="900000"/>
          </a:xfrm>
        </p:grpSpPr>
        <p:grpSp>
          <p:nvGrpSpPr>
            <p:cNvPr id="103" name="Gruppieren 30"/>
            <p:cNvGrpSpPr/>
            <p:nvPr/>
          </p:nvGrpSpPr>
          <p:grpSpPr>
            <a:xfrm>
              <a:off x="2204048" y="1338615"/>
              <a:ext cx="648000" cy="900000"/>
              <a:chOff x="2885677" y="2424782"/>
              <a:chExt cx="648000" cy="900000"/>
            </a:xfrm>
          </p:grpSpPr>
          <p:sp>
            <p:nvSpPr>
              <p:cNvPr id="104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Tablet Clients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WBT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 </a:t>
                </a:r>
                <a:endParaRPr lang="en-US" sz="10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08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1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111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203022" y="208962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4" name="Grafik 5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08" y="16381"/>
            <a:ext cx="774000" cy="7920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3924000" y="1466753"/>
            <a:ext cx="648000" cy="906725"/>
            <a:chOff x="3871254" y="1338615"/>
            <a:chExt cx="648000" cy="906725"/>
          </a:xfrm>
        </p:grpSpPr>
        <p:grpSp>
          <p:nvGrpSpPr>
            <p:cNvPr id="115" name="Gruppieren 30"/>
            <p:cNvGrpSpPr/>
            <p:nvPr/>
          </p:nvGrpSpPr>
          <p:grpSpPr>
            <a:xfrm>
              <a:off x="3871254" y="1338615"/>
              <a:ext cx="648000" cy="900000"/>
              <a:chOff x="2885677" y="2424782"/>
              <a:chExt cx="648000" cy="900000"/>
            </a:xfrm>
          </p:grpSpPr>
          <p:sp>
            <p:nvSpPr>
              <p:cNvPr id="117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CCD </a:t>
                </a:r>
                <a:endParaRPr lang="en-US" sz="8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Tablet /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Mobility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olutions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WBT</a:t>
                </a:r>
              </a:p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  <a:ea typeface="MS UI Gothic" pitchFamily="34" charset="-128"/>
                  </a:rPr>
                  <a:t>(30 min)</a:t>
                </a:r>
                <a:endParaRPr lang="en-US" sz="10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18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2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11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80002" y="2101340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7" name="Group 136"/>
          <p:cNvGrpSpPr/>
          <p:nvPr/>
        </p:nvGrpSpPr>
        <p:grpSpPr>
          <a:xfrm>
            <a:off x="4716016" y="1475752"/>
            <a:ext cx="648000" cy="906725"/>
            <a:chOff x="3871254" y="1338615"/>
            <a:chExt cx="648000" cy="906725"/>
          </a:xfrm>
        </p:grpSpPr>
        <p:grpSp>
          <p:nvGrpSpPr>
            <p:cNvPr id="138" name="Gruppieren 30"/>
            <p:cNvGrpSpPr/>
            <p:nvPr/>
          </p:nvGrpSpPr>
          <p:grpSpPr>
            <a:xfrm>
              <a:off x="3871254" y="1338615"/>
              <a:ext cx="648000" cy="900000"/>
              <a:chOff x="2885677" y="2424782"/>
              <a:chExt cx="648000" cy="900000"/>
            </a:xfrm>
          </p:grpSpPr>
          <p:sp>
            <p:nvSpPr>
              <p:cNvPr id="141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CCD </a:t>
                </a:r>
                <a:endParaRPr lang="en-US" sz="8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BYOD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olutions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WBT</a:t>
                </a:r>
              </a:p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  <a:ea typeface="MS UI Gothic" pitchFamily="34" charset="-128"/>
                  </a:rPr>
                  <a:t>(60 min)</a:t>
                </a:r>
                <a:endParaRPr lang="en-US" sz="10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42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2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140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80002" y="2101340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144159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/>
              <a:t> </a:t>
            </a:r>
            <a:r>
              <a:rPr lang="de-DE" dirty="0" err="1" smtClean="0"/>
              <a:t>Tehotyöasemat</a:t>
            </a:r>
            <a:r>
              <a:rPr lang="de-DE" dirty="0" smtClean="0"/>
              <a:t> </a:t>
            </a:r>
            <a:r>
              <a:rPr lang="de-DE" sz="1800" dirty="0" smtClean="0"/>
              <a:t>(Workstations)</a:t>
            </a:r>
            <a:endParaRPr lang="de-DE" sz="1800" dirty="0"/>
          </a:p>
        </p:txBody>
      </p:sp>
      <p:sp>
        <p:nvSpPr>
          <p:cNvPr id="86" name="AutoShape 36"/>
          <p:cNvSpPr>
            <a:spLocks noChangeArrowheads="1"/>
          </p:cNvSpPr>
          <p:nvPr/>
        </p:nvSpPr>
        <p:spPr bwMode="auto">
          <a:xfrm>
            <a:off x="232400" y="1043704"/>
            <a:ext cx="8660080" cy="3544270"/>
          </a:xfrm>
          <a:prstGeom prst="roundRect">
            <a:avLst>
              <a:gd name="adj" fmla="val 3898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257477" y="1611369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251519" y="2714746"/>
            <a:ext cx="799288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257477" y="3794866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cxnSp>
        <p:nvCxnSpPr>
          <p:cNvPr id="109" name="Gerade Verbindung 108"/>
          <p:cNvCxnSpPr/>
          <p:nvPr/>
        </p:nvCxnSpPr>
        <p:spPr bwMode="auto">
          <a:xfrm>
            <a:off x="2051720" y="1127824"/>
            <a:ext cx="0" cy="358900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Gerade Verbindung 115"/>
          <p:cNvCxnSpPr/>
          <p:nvPr/>
        </p:nvCxnSpPr>
        <p:spPr bwMode="auto">
          <a:xfrm>
            <a:off x="5436096" y="1152409"/>
            <a:ext cx="0" cy="353983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Rectangle 32"/>
          <p:cNvSpPr>
            <a:spLocks noChangeArrowheads="1"/>
          </p:cNvSpPr>
          <p:nvPr/>
        </p:nvSpPr>
        <p:spPr bwMode="auto">
          <a:xfrm>
            <a:off x="8280472" y="1475752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Sales Professionals</a:t>
            </a:r>
          </a:p>
        </p:txBody>
      </p:sp>
      <p:sp>
        <p:nvSpPr>
          <p:cNvPr id="129" name="Rectangle 32"/>
          <p:cNvSpPr>
            <a:spLocks noChangeArrowheads="1"/>
          </p:cNvSpPr>
          <p:nvPr/>
        </p:nvSpPr>
        <p:spPr bwMode="auto">
          <a:xfrm>
            <a:off x="8280472" y="2530954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PreSales Consultants</a:t>
            </a:r>
          </a:p>
        </p:txBody>
      </p:sp>
      <p:sp>
        <p:nvSpPr>
          <p:cNvPr id="130" name="Rectangle 32"/>
          <p:cNvSpPr>
            <a:spLocks noChangeArrowheads="1"/>
          </p:cNvSpPr>
          <p:nvPr/>
        </p:nvSpPr>
        <p:spPr bwMode="auto">
          <a:xfrm>
            <a:off x="8280472" y="3586156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a typeface="MS UI Gothic" pitchFamily="34" charset="-128"/>
              </a:rPr>
              <a:t>System Engineers</a:t>
            </a:r>
            <a:endParaRPr lang="en-US" sz="1000" b="1" dirty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80" name="Rechteck 20"/>
          <p:cNvSpPr/>
          <p:nvPr/>
        </p:nvSpPr>
        <p:spPr bwMode="auto">
          <a:xfrm>
            <a:off x="8280472" y="1097851"/>
            <a:ext cx="540000" cy="3240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8C8C8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r>
              <a:rPr lang="de-DE" sz="2000" b="1" dirty="0">
                <a:solidFill>
                  <a:srgbClr val="CC0000"/>
                </a:solidFill>
                <a:latin typeface="Arial" charset="0"/>
                <a:ea typeface="MS UI Gothic" pitchFamily="50" charset="-128"/>
              </a:rPr>
              <a:t>5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323528" y="1452513"/>
            <a:ext cx="648000" cy="900000"/>
            <a:chOff x="395536" y="1324375"/>
            <a:chExt cx="648000" cy="900000"/>
          </a:xfrm>
        </p:grpSpPr>
        <p:sp>
          <p:nvSpPr>
            <p:cNvPr id="11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CCD </a:t>
              </a: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trate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15 min)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77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10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6" name="Gruppieren 25"/>
          <p:cNvGrpSpPr/>
          <p:nvPr/>
        </p:nvGrpSpPr>
        <p:grpSpPr>
          <a:xfrm>
            <a:off x="2323205" y="1452513"/>
            <a:ext cx="648000" cy="900000"/>
            <a:chOff x="3647552" y="1333327"/>
            <a:chExt cx="648000" cy="90000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72" name="Rectangle 35"/>
            <p:cNvSpPr>
              <a:spLocks noChangeArrowheads="1"/>
            </p:cNvSpPr>
            <p:nvPr/>
          </p:nvSpPr>
          <p:spPr bwMode="auto">
            <a:xfrm>
              <a:off x="3647552" y="1333327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CD 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User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Profile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trategy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  <a:p>
              <a:pPr algn="ctr"/>
              <a:r>
                <a:rPr lang="en-US" sz="800" b="1" dirty="0" smtClean="0">
                  <a:solidFill>
                    <a:schemeClr val="bg1"/>
                  </a:solidFill>
                  <a:ea typeface="MS UI Gothic" pitchFamily="34" charset="-128"/>
                </a:rPr>
                <a:t>(35 min)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4079552" y="2089327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2" y="2080375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6624248" y="4804014"/>
            <a:ext cx="1906572" cy="144000"/>
            <a:chOff x="6624248" y="4781587"/>
            <a:chExt cx="1906572" cy="144000"/>
          </a:xfrm>
        </p:grpSpPr>
        <p:sp>
          <p:nvSpPr>
            <p:cNvPr id="131" name="Rectangle 33"/>
            <p:cNvSpPr>
              <a:spLocks noChangeArrowheads="1"/>
            </p:cNvSpPr>
            <p:nvPr/>
          </p:nvSpPr>
          <p:spPr bwMode="auto">
            <a:xfrm>
              <a:off x="6807155" y="4781587"/>
              <a:ext cx="1723665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Point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32" name="Rectangle 33"/>
            <p:cNvSpPr>
              <a:spLocks noChangeArrowheads="1"/>
            </p:cNvSpPr>
            <p:nvPr/>
          </p:nvSpPr>
          <p:spPr bwMode="auto">
            <a:xfrm>
              <a:off x="6624248" y="4781587"/>
              <a:ext cx="180000" cy="144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555776" y="4781587"/>
            <a:ext cx="1564714" cy="144000"/>
            <a:chOff x="4283968" y="4781587"/>
            <a:chExt cx="1564714" cy="144000"/>
          </a:xfrm>
        </p:grpSpPr>
        <p:pic>
          <p:nvPicPr>
            <p:cNvPr id="8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26080" y="4781587"/>
              <a:ext cx="210561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pic>
          <p:nvPicPr>
            <p:cNvPr id="10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4781587"/>
              <a:ext cx="213060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sp>
          <p:nvSpPr>
            <p:cNvPr id="155" name="Rectangle 33"/>
            <p:cNvSpPr>
              <a:spLocks noChangeArrowheads="1"/>
            </p:cNvSpPr>
            <p:nvPr/>
          </p:nvSpPr>
          <p:spPr bwMode="auto">
            <a:xfrm>
              <a:off x="4499992" y="4781587"/>
              <a:ext cx="326557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WBT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56" name="Rectangle 33"/>
            <p:cNvSpPr>
              <a:spLocks noChangeArrowheads="1"/>
            </p:cNvSpPr>
            <p:nvPr/>
          </p:nvSpPr>
          <p:spPr bwMode="auto">
            <a:xfrm>
              <a:off x="5220072" y="4781587"/>
              <a:ext cx="628610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Instructor led</a:t>
              </a:r>
              <a:endParaRPr lang="en-US" sz="700" dirty="0">
                <a:ea typeface="MS UI Gothic" pitchFamily="34" charset="-128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319429" y="4793385"/>
            <a:ext cx="2190847" cy="154629"/>
            <a:chOff x="4319429" y="4793385"/>
            <a:chExt cx="2190847" cy="154629"/>
          </a:xfrm>
        </p:grpSpPr>
        <p:sp>
          <p:nvSpPr>
            <p:cNvPr id="176" name="Rectangle 33"/>
            <p:cNvSpPr>
              <a:spLocks noChangeArrowheads="1"/>
            </p:cNvSpPr>
            <p:nvPr/>
          </p:nvSpPr>
          <p:spPr bwMode="auto">
            <a:xfrm>
              <a:off x="4499992" y="4804014"/>
              <a:ext cx="2010284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Mandatory course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77" name="Rectangle 33"/>
            <p:cNvSpPr>
              <a:spLocks noChangeArrowheads="1"/>
            </p:cNvSpPr>
            <p:nvPr/>
          </p:nvSpPr>
          <p:spPr bwMode="auto">
            <a:xfrm>
              <a:off x="4319429" y="4793385"/>
              <a:ext cx="180000" cy="144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115616" y="1458353"/>
            <a:ext cx="648000" cy="903410"/>
            <a:chOff x="1115616" y="1330215"/>
            <a:chExt cx="648000" cy="903410"/>
          </a:xfrm>
        </p:grpSpPr>
        <p:grpSp>
          <p:nvGrpSpPr>
            <p:cNvPr id="91" name="Gruppieren 30"/>
            <p:cNvGrpSpPr/>
            <p:nvPr/>
          </p:nvGrpSpPr>
          <p:grpSpPr>
            <a:xfrm>
              <a:off x="1115616" y="1330215"/>
              <a:ext cx="648000" cy="900000"/>
              <a:chOff x="2885677" y="2424782"/>
              <a:chExt cx="648000" cy="900000"/>
            </a:xfrm>
          </p:grpSpPr>
          <p:sp>
            <p:nvSpPr>
              <p:cNvPr id="93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Workstations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WBT</a:t>
                </a:r>
              </a:p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  <a:ea typeface="MS UI Gothic" pitchFamily="34" charset="-128"/>
                  </a:rPr>
                  <a:t>(55  min)</a:t>
                </a:r>
                <a:endParaRPr lang="en-US" sz="10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96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1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98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115616" y="208962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9" name="Group 8"/>
          <p:cNvGrpSpPr/>
          <p:nvPr/>
        </p:nvGrpSpPr>
        <p:grpSpPr>
          <a:xfrm>
            <a:off x="3396604" y="1475752"/>
            <a:ext cx="648000" cy="906725"/>
            <a:chOff x="3871254" y="1338615"/>
            <a:chExt cx="648000" cy="906725"/>
          </a:xfrm>
        </p:grpSpPr>
        <p:grpSp>
          <p:nvGrpSpPr>
            <p:cNvPr id="115" name="Gruppieren 30"/>
            <p:cNvGrpSpPr/>
            <p:nvPr/>
          </p:nvGrpSpPr>
          <p:grpSpPr>
            <a:xfrm>
              <a:off x="3871254" y="1338615"/>
              <a:ext cx="648000" cy="900000"/>
              <a:chOff x="2885677" y="2424782"/>
              <a:chExt cx="648000" cy="900000"/>
            </a:xfrm>
          </p:grpSpPr>
          <p:sp>
            <p:nvSpPr>
              <p:cNvPr id="117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Workstation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olutions &amp;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 </a:t>
                </a:r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Vertical </a:t>
                </a:r>
                <a:endParaRPr lang="en-US" sz="8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Markets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Sales WBT</a:t>
                </a:r>
              </a:p>
              <a:p>
                <a:pPr algn="ctr"/>
                <a:r>
                  <a:rPr lang="en-US" sz="800" b="1" dirty="0" smtClean="0">
                    <a:solidFill>
                      <a:schemeClr val="bg1"/>
                    </a:solidFill>
                    <a:ea typeface="MS UI Gothic" pitchFamily="34" charset="-128"/>
                  </a:rPr>
                  <a:t>(40 min)</a:t>
                </a:r>
                <a:endParaRPr lang="en-US" sz="10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18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2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11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80002" y="2101340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1" name="Grafik 7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599" y="0"/>
            <a:ext cx="774000" cy="792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2323205" y="2649312"/>
            <a:ext cx="648000" cy="900000"/>
            <a:chOff x="2323205" y="2521174"/>
            <a:chExt cx="648000" cy="900000"/>
          </a:xfrm>
        </p:grpSpPr>
        <p:grpSp>
          <p:nvGrpSpPr>
            <p:cNvPr id="75" name="Gruppieren 30"/>
            <p:cNvGrpSpPr/>
            <p:nvPr/>
          </p:nvGrpSpPr>
          <p:grpSpPr>
            <a:xfrm>
              <a:off x="2323205" y="2521174"/>
              <a:ext cx="648000" cy="900000"/>
              <a:chOff x="2885677" y="2424782"/>
              <a:chExt cx="648000" cy="900000"/>
            </a:xfrm>
          </p:grpSpPr>
          <p:sp>
            <p:nvSpPr>
              <p:cNvPr id="78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Workstation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Technical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insights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WBT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(65 min)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79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2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6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346509" y="326890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76189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 err="1" smtClean="0"/>
              <a:t>Palvelinjärjestelmät</a:t>
            </a:r>
            <a:r>
              <a:rPr lang="de-DE" dirty="0" smtClean="0"/>
              <a:t> </a:t>
            </a:r>
            <a:r>
              <a:rPr lang="de-DE" sz="1800" dirty="0" smtClean="0"/>
              <a:t>(</a:t>
            </a:r>
            <a:r>
              <a:rPr lang="de-DE" sz="1800" dirty="0" err="1" smtClean="0"/>
              <a:t>perustaso</a:t>
            </a:r>
            <a:r>
              <a:rPr lang="de-DE" sz="1800" dirty="0" smtClean="0"/>
              <a:t> – </a:t>
            </a:r>
            <a:r>
              <a:rPr lang="de-DE" sz="1800" dirty="0" err="1" smtClean="0"/>
              <a:t>vaihtoehto</a:t>
            </a:r>
            <a:r>
              <a:rPr lang="de-DE" sz="1800" dirty="0" smtClean="0"/>
              <a:t> 1)</a:t>
            </a:r>
            <a:endParaRPr lang="de-DE" sz="1800" dirty="0"/>
          </a:p>
        </p:txBody>
      </p:sp>
      <p:sp>
        <p:nvSpPr>
          <p:cNvPr id="86" name="AutoShape 36"/>
          <p:cNvSpPr>
            <a:spLocks noChangeArrowheads="1"/>
          </p:cNvSpPr>
          <p:nvPr/>
        </p:nvSpPr>
        <p:spPr bwMode="auto">
          <a:xfrm>
            <a:off x="251519" y="1115712"/>
            <a:ext cx="8660080" cy="3544270"/>
          </a:xfrm>
          <a:prstGeom prst="roundRect">
            <a:avLst>
              <a:gd name="adj" fmla="val 3898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257477" y="1683377"/>
            <a:ext cx="769889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251519" y="2786754"/>
            <a:ext cx="7704857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257477" y="3866874"/>
            <a:ext cx="769889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27" name="Rectangle 32"/>
          <p:cNvSpPr>
            <a:spLocks noChangeArrowheads="1"/>
          </p:cNvSpPr>
          <p:nvPr/>
        </p:nvSpPr>
        <p:spPr bwMode="auto">
          <a:xfrm>
            <a:off x="8134787" y="1547760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Sales Professionals</a:t>
            </a:r>
          </a:p>
        </p:txBody>
      </p:sp>
      <p:sp>
        <p:nvSpPr>
          <p:cNvPr id="129" name="Rectangle 32"/>
          <p:cNvSpPr>
            <a:spLocks noChangeArrowheads="1"/>
          </p:cNvSpPr>
          <p:nvPr/>
        </p:nvSpPr>
        <p:spPr bwMode="auto">
          <a:xfrm>
            <a:off x="8134787" y="2602962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PreSales Consultants</a:t>
            </a:r>
          </a:p>
        </p:txBody>
      </p:sp>
      <p:sp>
        <p:nvSpPr>
          <p:cNvPr id="130" name="Rectangle 32"/>
          <p:cNvSpPr>
            <a:spLocks noChangeArrowheads="1"/>
          </p:cNvSpPr>
          <p:nvPr/>
        </p:nvSpPr>
        <p:spPr bwMode="auto">
          <a:xfrm>
            <a:off x="8134787" y="3658164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a typeface="MS UI Gothic" pitchFamily="34" charset="-128"/>
              </a:rPr>
              <a:t>System Engineers</a:t>
            </a:r>
            <a:endParaRPr lang="en-US" sz="1000" b="1" dirty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80" name="Rechteck 20"/>
          <p:cNvSpPr/>
          <p:nvPr/>
        </p:nvSpPr>
        <p:spPr bwMode="auto">
          <a:xfrm>
            <a:off x="8146876" y="1169859"/>
            <a:ext cx="540000" cy="3240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8C8C8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r>
              <a:rPr lang="de-DE" sz="2000" b="1" dirty="0">
                <a:solidFill>
                  <a:srgbClr val="CC0000"/>
                </a:solidFill>
                <a:latin typeface="Arial" charset="0"/>
                <a:ea typeface="MS UI Gothic" pitchFamily="50" charset="-128"/>
              </a:rPr>
              <a:t>5</a:t>
            </a:r>
          </a:p>
        </p:txBody>
      </p:sp>
      <p:grpSp>
        <p:nvGrpSpPr>
          <p:cNvPr id="23" name="Gruppieren 22"/>
          <p:cNvGrpSpPr/>
          <p:nvPr/>
        </p:nvGrpSpPr>
        <p:grpSpPr>
          <a:xfrm>
            <a:off x="481261" y="1524521"/>
            <a:ext cx="648000" cy="900000"/>
            <a:chOff x="395536" y="1324375"/>
            <a:chExt cx="648000" cy="900000"/>
          </a:xfrm>
        </p:grpSpPr>
        <p:sp>
          <p:nvSpPr>
            <p:cNvPr id="11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IMER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45 min) 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77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10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uppieren 28"/>
          <p:cNvGrpSpPr/>
          <p:nvPr/>
        </p:nvGrpSpPr>
        <p:grpSpPr>
          <a:xfrm>
            <a:off x="465962" y="2624928"/>
            <a:ext cx="648000" cy="900000"/>
            <a:chOff x="380237" y="2424782"/>
            <a:chExt cx="648000" cy="900000"/>
          </a:xfrm>
        </p:grpSpPr>
        <p:sp>
          <p:nvSpPr>
            <p:cNvPr id="62" name="Rectangle 35"/>
            <p:cNvSpPr>
              <a:spLocks noChangeArrowheads="1"/>
            </p:cNvSpPr>
            <p:nvPr/>
          </p:nvSpPr>
          <p:spPr bwMode="auto">
            <a:xfrm>
              <a:off x="380237" y="2424782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IMER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e-sales</a:t>
              </a:r>
              <a:b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60 min) 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63" name="Rectangle 33"/>
            <p:cNvSpPr>
              <a:spLocks noChangeArrowheads="1"/>
            </p:cNvSpPr>
            <p:nvPr/>
          </p:nvSpPr>
          <p:spPr bwMode="auto">
            <a:xfrm>
              <a:off x="812237" y="3180782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3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0237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6" name="Gruppieren 25"/>
          <p:cNvGrpSpPr/>
          <p:nvPr/>
        </p:nvGrpSpPr>
        <p:grpSpPr>
          <a:xfrm>
            <a:off x="1268579" y="1524521"/>
            <a:ext cx="648000" cy="900000"/>
            <a:chOff x="3647552" y="1333327"/>
            <a:chExt cx="648000" cy="900000"/>
          </a:xfrm>
        </p:grpSpPr>
        <p:sp>
          <p:nvSpPr>
            <p:cNvPr id="72" name="Rectangle 35"/>
            <p:cNvSpPr>
              <a:spLocks noChangeArrowheads="1"/>
            </p:cNvSpPr>
            <p:nvPr/>
          </p:nvSpPr>
          <p:spPr bwMode="auto">
            <a:xfrm>
              <a:off x="3647552" y="1333327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erverView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erver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Management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4079552" y="2089327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</a:p>
          </p:txBody>
        </p:sp>
        <p:pic>
          <p:nvPicPr>
            <p:cNvPr id="13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2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1" name="Rectangle 33"/>
          <p:cNvSpPr>
            <a:spLocks noChangeArrowheads="1"/>
          </p:cNvSpPr>
          <p:nvPr/>
        </p:nvSpPr>
        <p:spPr bwMode="auto">
          <a:xfrm>
            <a:off x="6807155" y="4781587"/>
            <a:ext cx="1723665" cy="144000"/>
          </a:xfrm>
          <a:prstGeom prst="rect">
            <a:avLst/>
          </a:prstGeom>
          <a:noFill/>
          <a:ln w="12700">
            <a:solidFill>
              <a:srgbClr val="5F5F5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700" dirty="0" smtClean="0">
                <a:ea typeface="MS UI Gothic" pitchFamily="34" charset="-128"/>
              </a:rPr>
              <a:t>Points for SELECT Partner Program</a:t>
            </a:r>
            <a:endParaRPr lang="en-US" sz="700" dirty="0">
              <a:ea typeface="MS UI Gothic" pitchFamily="34" charset="-128"/>
            </a:endParaRPr>
          </a:p>
        </p:txBody>
      </p:sp>
      <p:sp>
        <p:nvSpPr>
          <p:cNvPr id="132" name="Rectangle 33"/>
          <p:cNvSpPr>
            <a:spLocks noChangeArrowheads="1"/>
          </p:cNvSpPr>
          <p:nvPr/>
        </p:nvSpPr>
        <p:spPr bwMode="auto">
          <a:xfrm>
            <a:off x="6624248" y="4781587"/>
            <a:ext cx="180000" cy="14400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5F5F5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700" dirty="0">
              <a:solidFill>
                <a:schemeClr val="bg1"/>
              </a:solidFill>
              <a:ea typeface="MS UI Gothic" pitchFamily="34" charset="-128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846772" y="4781587"/>
            <a:ext cx="1538812" cy="144000"/>
            <a:chOff x="4813926" y="4781587"/>
            <a:chExt cx="1538812" cy="144000"/>
          </a:xfrm>
        </p:grpSpPr>
        <p:pic>
          <p:nvPicPr>
            <p:cNvPr id="8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531042" y="4781587"/>
              <a:ext cx="210561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pic>
          <p:nvPicPr>
            <p:cNvPr id="10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13926" y="4781587"/>
              <a:ext cx="213060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sp>
          <p:nvSpPr>
            <p:cNvPr id="155" name="Rectangle 33"/>
            <p:cNvSpPr>
              <a:spLocks noChangeArrowheads="1"/>
            </p:cNvSpPr>
            <p:nvPr/>
          </p:nvSpPr>
          <p:spPr bwMode="auto">
            <a:xfrm>
              <a:off x="5004048" y="4781587"/>
              <a:ext cx="326557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WBT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56" name="Rectangle 33"/>
            <p:cNvSpPr>
              <a:spLocks noChangeArrowheads="1"/>
            </p:cNvSpPr>
            <p:nvPr/>
          </p:nvSpPr>
          <p:spPr bwMode="auto">
            <a:xfrm>
              <a:off x="5724128" y="4781587"/>
              <a:ext cx="628610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Instructor led</a:t>
              </a:r>
              <a:endParaRPr lang="en-US" sz="700" dirty="0">
                <a:ea typeface="MS UI Gothic" pitchFamily="34" charset="-128"/>
              </a:endParaRPr>
            </a:p>
          </p:txBody>
        </p:sp>
      </p:grpSp>
      <p:grpSp>
        <p:nvGrpSpPr>
          <p:cNvPr id="37" name="Gruppieren 36"/>
          <p:cNvGrpSpPr/>
          <p:nvPr/>
        </p:nvGrpSpPr>
        <p:grpSpPr>
          <a:xfrm>
            <a:off x="450663" y="3721717"/>
            <a:ext cx="648000" cy="900000"/>
            <a:chOff x="364938" y="3521571"/>
            <a:chExt cx="648000" cy="900000"/>
          </a:xfrm>
        </p:grpSpPr>
        <p:sp>
          <p:nvSpPr>
            <p:cNvPr id="65" name="Rectangle 35"/>
            <p:cNvSpPr>
              <a:spLocks noChangeArrowheads="1"/>
            </p:cNvSpPr>
            <p:nvPr/>
          </p:nvSpPr>
          <p:spPr bwMode="auto">
            <a:xfrm>
              <a:off x="364938" y="3521571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IMER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Install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and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Manage </a:t>
              </a:r>
            </a:p>
            <a:p>
              <a:pPr algn="ctr"/>
              <a:r>
                <a:rPr lang="en-US" sz="800" dirty="0" err="1" smtClean="0">
                  <a:solidFill>
                    <a:schemeClr val="bg1"/>
                  </a:solidFill>
                  <a:ea typeface="MS UI Gothic" pitchFamily="34" charset="-128"/>
                </a:rPr>
                <a:t>ServerView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2 days)</a:t>
              </a: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796938" y="4277571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58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64938" y="4277571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"/>
          <p:cNvGrpSpPr/>
          <p:nvPr/>
        </p:nvGrpSpPr>
        <p:grpSpPr>
          <a:xfrm>
            <a:off x="4410167" y="4784964"/>
            <a:ext cx="2162264" cy="163050"/>
            <a:chOff x="4410167" y="5052450"/>
            <a:chExt cx="2162264" cy="163050"/>
          </a:xfrm>
        </p:grpSpPr>
        <p:sp>
          <p:nvSpPr>
            <p:cNvPr id="126" name="Rectangle 33"/>
            <p:cNvSpPr>
              <a:spLocks noChangeArrowheads="1"/>
            </p:cNvSpPr>
            <p:nvPr/>
          </p:nvSpPr>
          <p:spPr bwMode="auto">
            <a:xfrm>
              <a:off x="4562147" y="5071500"/>
              <a:ext cx="2010284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Mandatory course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28" name="Rectangle 33"/>
            <p:cNvSpPr>
              <a:spLocks noChangeArrowheads="1"/>
            </p:cNvSpPr>
            <p:nvPr/>
          </p:nvSpPr>
          <p:spPr bwMode="auto">
            <a:xfrm>
              <a:off x="4410167" y="5052450"/>
              <a:ext cx="180000" cy="144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pic>
        <p:nvPicPr>
          <p:cNvPr id="138" name="Grafik 34" descr="face2face.png"/>
          <p:cNvPicPr preferRelativeResize="0">
            <a:picLocks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2102" y="2280521"/>
            <a:ext cx="210561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0" name="Grafik 34" descr="face2face.png"/>
          <p:cNvPicPr preferRelativeResize="0">
            <a:picLocks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336" y="3380928"/>
            <a:ext cx="210561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1" name="Gruppieren 29"/>
          <p:cNvGrpSpPr/>
          <p:nvPr/>
        </p:nvGrpSpPr>
        <p:grpSpPr>
          <a:xfrm>
            <a:off x="1300011" y="2624928"/>
            <a:ext cx="648000" cy="900000"/>
            <a:chOff x="2123801" y="2424782"/>
            <a:chExt cx="648000" cy="900000"/>
          </a:xfrm>
        </p:grpSpPr>
        <p:sp>
          <p:nvSpPr>
            <p:cNvPr id="144" name="Rectangle 35"/>
            <p:cNvSpPr>
              <a:spLocks noChangeArrowheads="1"/>
            </p:cNvSpPr>
            <p:nvPr/>
          </p:nvSpPr>
          <p:spPr bwMode="auto">
            <a:xfrm>
              <a:off x="2123801" y="2424782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C/System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Architect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60 min)</a:t>
              </a:r>
            </a:p>
            <a:p>
              <a:pPr algn="ctr"/>
              <a:endParaRPr lang="en-US" sz="9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45" name="Rectangle 33"/>
            <p:cNvSpPr>
              <a:spLocks noChangeArrowheads="1"/>
            </p:cNvSpPr>
            <p:nvPr/>
          </p:nvSpPr>
          <p:spPr bwMode="auto">
            <a:xfrm>
              <a:off x="2555801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6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23801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9" name="Picture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34" y="72961"/>
            <a:ext cx="707735" cy="72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25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 err="1" smtClean="0"/>
              <a:t>Palvelinjärjestelmät</a:t>
            </a:r>
            <a:r>
              <a:rPr lang="de-DE" dirty="0"/>
              <a:t> </a:t>
            </a:r>
            <a:r>
              <a:rPr lang="de-DE" sz="1800" dirty="0" smtClean="0"/>
              <a:t>(</a:t>
            </a:r>
            <a:r>
              <a:rPr lang="de-DE" sz="1800" dirty="0" err="1" smtClean="0"/>
              <a:t>konesaliratkaisut</a:t>
            </a:r>
            <a:r>
              <a:rPr lang="de-DE" sz="1800" dirty="0" smtClean="0"/>
              <a:t> – </a:t>
            </a:r>
            <a:r>
              <a:rPr lang="de-DE" sz="1800" dirty="0" err="1"/>
              <a:t>vaihtoehto</a:t>
            </a:r>
            <a:r>
              <a:rPr lang="de-DE" sz="1800" dirty="0"/>
              <a:t> </a:t>
            </a:r>
            <a:r>
              <a:rPr lang="de-DE" sz="1800" dirty="0" smtClean="0"/>
              <a:t>2)</a:t>
            </a:r>
            <a:endParaRPr lang="de-DE" sz="1800" dirty="0"/>
          </a:p>
        </p:txBody>
      </p:sp>
      <p:sp>
        <p:nvSpPr>
          <p:cNvPr id="86" name="AutoShape 36"/>
          <p:cNvSpPr>
            <a:spLocks noChangeArrowheads="1"/>
          </p:cNvSpPr>
          <p:nvPr/>
        </p:nvSpPr>
        <p:spPr bwMode="auto">
          <a:xfrm>
            <a:off x="251519" y="1043704"/>
            <a:ext cx="8660080" cy="3544270"/>
          </a:xfrm>
          <a:prstGeom prst="roundRect">
            <a:avLst>
              <a:gd name="adj" fmla="val 3898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257477" y="1611369"/>
            <a:ext cx="769889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251519" y="2714746"/>
            <a:ext cx="7704857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257477" y="3794866"/>
            <a:ext cx="769889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cxnSp>
        <p:nvCxnSpPr>
          <p:cNvPr id="109" name="Gerade Verbindung 108"/>
          <p:cNvCxnSpPr/>
          <p:nvPr/>
        </p:nvCxnSpPr>
        <p:spPr bwMode="auto">
          <a:xfrm>
            <a:off x="1403648" y="1203598"/>
            <a:ext cx="0" cy="358900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Gerade Verbindung 115"/>
          <p:cNvCxnSpPr/>
          <p:nvPr/>
        </p:nvCxnSpPr>
        <p:spPr bwMode="auto">
          <a:xfrm>
            <a:off x="5508104" y="1192152"/>
            <a:ext cx="0" cy="353983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Rectangle 32"/>
          <p:cNvSpPr>
            <a:spLocks noChangeArrowheads="1"/>
          </p:cNvSpPr>
          <p:nvPr/>
        </p:nvSpPr>
        <p:spPr bwMode="auto">
          <a:xfrm>
            <a:off x="8134787" y="1475752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Sales Professionals</a:t>
            </a:r>
          </a:p>
        </p:txBody>
      </p:sp>
      <p:sp>
        <p:nvSpPr>
          <p:cNvPr id="129" name="Rectangle 32"/>
          <p:cNvSpPr>
            <a:spLocks noChangeArrowheads="1"/>
          </p:cNvSpPr>
          <p:nvPr/>
        </p:nvSpPr>
        <p:spPr bwMode="auto">
          <a:xfrm>
            <a:off x="8134787" y="2530954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PreSales Consultants</a:t>
            </a:r>
          </a:p>
        </p:txBody>
      </p:sp>
      <p:sp>
        <p:nvSpPr>
          <p:cNvPr id="130" name="Rectangle 32"/>
          <p:cNvSpPr>
            <a:spLocks noChangeArrowheads="1"/>
          </p:cNvSpPr>
          <p:nvPr/>
        </p:nvSpPr>
        <p:spPr bwMode="auto">
          <a:xfrm>
            <a:off x="8134787" y="3586156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a typeface="MS UI Gothic" pitchFamily="34" charset="-128"/>
              </a:rPr>
              <a:t>System Engineers</a:t>
            </a:r>
            <a:endParaRPr lang="en-US" sz="1000" b="1" dirty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80" name="Rechteck 20"/>
          <p:cNvSpPr/>
          <p:nvPr/>
        </p:nvSpPr>
        <p:spPr bwMode="auto">
          <a:xfrm>
            <a:off x="8146876" y="1097851"/>
            <a:ext cx="540000" cy="3240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8C8C8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r>
              <a:rPr lang="de-DE" sz="2000" b="1" dirty="0" smtClean="0">
                <a:solidFill>
                  <a:srgbClr val="CC0000"/>
                </a:solidFill>
                <a:latin typeface="Arial" charset="0"/>
                <a:ea typeface="MS UI Gothic" pitchFamily="50" charset="-128"/>
              </a:rPr>
              <a:t>13</a:t>
            </a:r>
            <a:endParaRPr lang="de-DE" sz="2000" b="1" dirty="0">
              <a:solidFill>
                <a:srgbClr val="CC0000"/>
              </a:solidFill>
              <a:latin typeface="Arial" charset="0"/>
              <a:ea typeface="MS UI Gothic" pitchFamily="50" charset="-128"/>
            </a:endParaRPr>
          </a:p>
        </p:txBody>
      </p:sp>
      <p:grpSp>
        <p:nvGrpSpPr>
          <p:cNvPr id="23" name="Gruppieren 22"/>
          <p:cNvGrpSpPr/>
          <p:nvPr/>
        </p:nvGrpSpPr>
        <p:grpSpPr>
          <a:xfrm>
            <a:off x="481261" y="1452513"/>
            <a:ext cx="648000" cy="900000"/>
            <a:chOff x="395536" y="1324375"/>
            <a:chExt cx="648000" cy="900000"/>
          </a:xfrm>
        </p:grpSpPr>
        <p:sp>
          <p:nvSpPr>
            <p:cNvPr id="11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IMER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77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10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9" name="Gruppieren 28"/>
          <p:cNvGrpSpPr/>
          <p:nvPr/>
        </p:nvGrpSpPr>
        <p:grpSpPr>
          <a:xfrm>
            <a:off x="465962" y="2552920"/>
            <a:ext cx="648000" cy="900000"/>
            <a:chOff x="380237" y="2424782"/>
            <a:chExt cx="648000" cy="900000"/>
          </a:xfrm>
        </p:grpSpPr>
        <p:sp>
          <p:nvSpPr>
            <p:cNvPr id="62" name="Rectangle 35"/>
            <p:cNvSpPr>
              <a:spLocks noChangeArrowheads="1"/>
            </p:cNvSpPr>
            <p:nvPr/>
          </p:nvSpPr>
          <p:spPr bwMode="auto">
            <a:xfrm>
              <a:off x="380237" y="2424782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IMER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e-sales 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63" name="Rectangle 33"/>
            <p:cNvSpPr>
              <a:spLocks noChangeArrowheads="1"/>
            </p:cNvSpPr>
            <p:nvPr/>
          </p:nvSpPr>
          <p:spPr bwMode="auto">
            <a:xfrm>
              <a:off x="812237" y="3180782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3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0237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6" name="Gruppieren 25"/>
          <p:cNvGrpSpPr/>
          <p:nvPr/>
        </p:nvGrpSpPr>
        <p:grpSpPr>
          <a:xfrm>
            <a:off x="3143496" y="1461465"/>
            <a:ext cx="648000" cy="900000"/>
            <a:chOff x="3647552" y="1333327"/>
            <a:chExt cx="648000" cy="900000"/>
          </a:xfrm>
        </p:grpSpPr>
        <p:sp>
          <p:nvSpPr>
            <p:cNvPr id="72" name="Rectangle 35"/>
            <p:cNvSpPr>
              <a:spLocks noChangeArrowheads="1"/>
            </p:cNvSpPr>
            <p:nvPr/>
          </p:nvSpPr>
          <p:spPr bwMode="auto">
            <a:xfrm>
              <a:off x="3647552" y="1333327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err="1" smtClean="0">
                  <a:solidFill>
                    <a:schemeClr val="bg1"/>
                  </a:solidFill>
                  <a:ea typeface="MS UI Gothic" pitchFamily="34" charset="-128"/>
                </a:rPr>
                <a:t>vShape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4079552" y="2089327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2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7" name="Gruppieren 26"/>
          <p:cNvGrpSpPr/>
          <p:nvPr/>
        </p:nvGrpSpPr>
        <p:grpSpPr>
          <a:xfrm>
            <a:off x="3905373" y="1452513"/>
            <a:ext cx="648000" cy="900000"/>
            <a:chOff x="4409429" y="1324375"/>
            <a:chExt cx="648000" cy="900000"/>
          </a:xfrm>
          <a:solidFill>
            <a:srgbClr val="FF0000"/>
          </a:solidFill>
        </p:grpSpPr>
        <p:sp>
          <p:nvSpPr>
            <p:cNvPr id="73" name="Rectangle 35"/>
            <p:cNvSpPr>
              <a:spLocks noChangeArrowheads="1"/>
            </p:cNvSpPr>
            <p:nvPr/>
          </p:nvSpPr>
          <p:spPr bwMode="auto">
            <a:xfrm>
              <a:off x="4409429" y="1324375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PAN Manager </a:t>
              </a:r>
              <a:endParaRPr lang="en-US" sz="7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for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IMERGY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3" name="Rectangle 33"/>
            <p:cNvSpPr>
              <a:spLocks noChangeArrowheads="1"/>
            </p:cNvSpPr>
            <p:nvPr/>
          </p:nvSpPr>
          <p:spPr bwMode="auto">
            <a:xfrm>
              <a:off x="4841429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409429" y="2080375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32" name="Gruppieren 31"/>
          <p:cNvGrpSpPr/>
          <p:nvPr/>
        </p:nvGrpSpPr>
        <p:grpSpPr>
          <a:xfrm>
            <a:off x="3143497" y="2552920"/>
            <a:ext cx="648000" cy="900000"/>
            <a:chOff x="3647553" y="2424782"/>
            <a:chExt cx="648000" cy="900000"/>
          </a:xfrm>
        </p:grpSpPr>
        <p:sp>
          <p:nvSpPr>
            <p:cNvPr id="76" name="Rectangle 35"/>
            <p:cNvSpPr>
              <a:spLocks noChangeArrowheads="1"/>
            </p:cNvSpPr>
            <p:nvPr/>
          </p:nvSpPr>
          <p:spPr bwMode="auto">
            <a:xfrm>
              <a:off x="3647553" y="2424782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err="1" smtClean="0">
                  <a:solidFill>
                    <a:schemeClr val="bg1"/>
                  </a:solidFill>
                  <a:ea typeface="MS UI Gothic" pitchFamily="34" charset="-128"/>
                </a:rPr>
                <a:t>vShape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e-sales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6" name="Rectangle 33"/>
            <p:cNvSpPr>
              <a:spLocks noChangeArrowheads="1"/>
            </p:cNvSpPr>
            <p:nvPr/>
          </p:nvSpPr>
          <p:spPr bwMode="auto">
            <a:xfrm>
              <a:off x="4079553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8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3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0" name="Gruppieren 29"/>
          <p:cNvGrpSpPr/>
          <p:nvPr/>
        </p:nvGrpSpPr>
        <p:grpSpPr>
          <a:xfrm>
            <a:off x="1619745" y="2552920"/>
            <a:ext cx="648000" cy="900000"/>
            <a:chOff x="2123801" y="2424782"/>
            <a:chExt cx="648000" cy="900000"/>
          </a:xfrm>
        </p:grpSpPr>
        <p:sp>
          <p:nvSpPr>
            <p:cNvPr id="74" name="Rectangle 35"/>
            <p:cNvSpPr>
              <a:spLocks noChangeArrowheads="1"/>
            </p:cNvSpPr>
            <p:nvPr/>
          </p:nvSpPr>
          <p:spPr bwMode="auto">
            <a:xfrm>
              <a:off x="2123801" y="2424782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IMEFLEX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IT Infrastructure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olution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e-sales </a:t>
              </a:r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4" name="Rectangle 33"/>
            <p:cNvSpPr>
              <a:spLocks noChangeArrowheads="1"/>
            </p:cNvSpPr>
            <p:nvPr/>
          </p:nvSpPr>
          <p:spPr bwMode="auto">
            <a:xfrm>
              <a:off x="2555801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54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23801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1" name="Rectangle 33"/>
          <p:cNvSpPr>
            <a:spLocks noChangeArrowheads="1"/>
          </p:cNvSpPr>
          <p:nvPr/>
        </p:nvSpPr>
        <p:spPr bwMode="auto">
          <a:xfrm>
            <a:off x="6807155" y="4781587"/>
            <a:ext cx="1723665" cy="144000"/>
          </a:xfrm>
          <a:prstGeom prst="rect">
            <a:avLst/>
          </a:prstGeom>
          <a:noFill/>
          <a:ln w="12700">
            <a:solidFill>
              <a:srgbClr val="5F5F5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700" dirty="0" smtClean="0">
                <a:ea typeface="MS UI Gothic" pitchFamily="34" charset="-128"/>
              </a:rPr>
              <a:t>Points for SELECT Partner Program</a:t>
            </a:r>
            <a:endParaRPr lang="en-US" sz="700" dirty="0">
              <a:ea typeface="MS UI Gothic" pitchFamily="34" charset="-128"/>
            </a:endParaRPr>
          </a:p>
        </p:txBody>
      </p:sp>
      <p:sp>
        <p:nvSpPr>
          <p:cNvPr id="132" name="Rectangle 33"/>
          <p:cNvSpPr>
            <a:spLocks noChangeArrowheads="1"/>
          </p:cNvSpPr>
          <p:nvPr/>
        </p:nvSpPr>
        <p:spPr bwMode="auto">
          <a:xfrm>
            <a:off x="6624248" y="4781587"/>
            <a:ext cx="180000" cy="144000"/>
          </a:xfrm>
          <a:prstGeom prst="rect">
            <a:avLst/>
          </a:prstGeom>
          <a:solidFill>
            <a:schemeClr val="accent1"/>
          </a:solidFill>
          <a:ln w="12700">
            <a:solidFill>
              <a:srgbClr val="5F5F5F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700" dirty="0">
              <a:solidFill>
                <a:schemeClr val="bg1"/>
              </a:solidFill>
              <a:ea typeface="MS UI Gothic" pitchFamily="34" charset="-128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846772" y="4781587"/>
            <a:ext cx="1538812" cy="144000"/>
            <a:chOff x="4813926" y="4781587"/>
            <a:chExt cx="1538812" cy="144000"/>
          </a:xfrm>
        </p:grpSpPr>
        <p:pic>
          <p:nvPicPr>
            <p:cNvPr id="8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531042" y="4781587"/>
              <a:ext cx="210561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pic>
          <p:nvPicPr>
            <p:cNvPr id="10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13926" y="4781587"/>
              <a:ext cx="213060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sp>
          <p:nvSpPr>
            <p:cNvPr id="155" name="Rectangle 33"/>
            <p:cNvSpPr>
              <a:spLocks noChangeArrowheads="1"/>
            </p:cNvSpPr>
            <p:nvPr/>
          </p:nvSpPr>
          <p:spPr bwMode="auto">
            <a:xfrm>
              <a:off x="5004048" y="4781587"/>
              <a:ext cx="326557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WBT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56" name="Rectangle 33"/>
            <p:cNvSpPr>
              <a:spLocks noChangeArrowheads="1"/>
            </p:cNvSpPr>
            <p:nvPr/>
          </p:nvSpPr>
          <p:spPr bwMode="auto">
            <a:xfrm>
              <a:off x="5724128" y="4781587"/>
              <a:ext cx="628610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Instructor led</a:t>
              </a:r>
              <a:endParaRPr lang="en-US" sz="700" dirty="0">
                <a:ea typeface="MS UI Gothic" pitchFamily="34" charset="-128"/>
              </a:endParaRPr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2381620" y="1467851"/>
            <a:ext cx="648000" cy="900000"/>
            <a:chOff x="2885676" y="1339713"/>
            <a:chExt cx="648000" cy="900000"/>
          </a:xfrm>
        </p:grpSpPr>
        <p:sp>
          <p:nvSpPr>
            <p:cNvPr id="71" name="Rectangle 35"/>
            <p:cNvSpPr>
              <a:spLocks noChangeArrowheads="1"/>
            </p:cNvSpPr>
            <p:nvPr/>
          </p:nvSpPr>
          <p:spPr bwMode="auto">
            <a:xfrm>
              <a:off x="2885676" y="1339713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IMEFLEX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IT Infrastructure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olution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</a:t>
              </a:r>
            </a:p>
            <a:p>
              <a:pPr algn="ctr"/>
              <a:r>
                <a:rPr lang="en-US" sz="700" b="1" dirty="0" smtClean="0">
                  <a:solidFill>
                    <a:schemeClr val="bg1"/>
                  </a:solidFill>
                  <a:ea typeface="MS UI Gothic" pitchFamily="34" charset="-128"/>
                </a:rPr>
                <a:t>VC</a:t>
              </a:r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1" name="Rectangle 33"/>
            <p:cNvSpPr>
              <a:spLocks noChangeArrowheads="1"/>
            </p:cNvSpPr>
            <p:nvPr/>
          </p:nvSpPr>
          <p:spPr bwMode="auto">
            <a:xfrm>
              <a:off x="3317676" y="2095713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3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57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85676" y="2095713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7" name="Gruppieren 36"/>
          <p:cNvGrpSpPr/>
          <p:nvPr/>
        </p:nvGrpSpPr>
        <p:grpSpPr>
          <a:xfrm>
            <a:off x="450663" y="3649709"/>
            <a:ext cx="648000" cy="900000"/>
            <a:chOff x="364938" y="3521571"/>
            <a:chExt cx="648000" cy="900000"/>
          </a:xfrm>
        </p:grpSpPr>
        <p:sp>
          <p:nvSpPr>
            <p:cNvPr id="65" name="Rectangle 35"/>
            <p:cNvSpPr>
              <a:spLocks noChangeArrowheads="1"/>
            </p:cNvSpPr>
            <p:nvPr/>
          </p:nvSpPr>
          <p:spPr bwMode="auto">
            <a:xfrm>
              <a:off x="364938" y="3521571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PRIMERG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Install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and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Manage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erverView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66" name="Rectangle 33"/>
            <p:cNvSpPr>
              <a:spLocks noChangeArrowheads="1"/>
            </p:cNvSpPr>
            <p:nvPr/>
          </p:nvSpPr>
          <p:spPr bwMode="auto">
            <a:xfrm>
              <a:off x="796938" y="4277571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58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64938" y="4277571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1" name="Gruppieren 30"/>
          <p:cNvGrpSpPr/>
          <p:nvPr/>
        </p:nvGrpSpPr>
        <p:grpSpPr>
          <a:xfrm>
            <a:off x="2381621" y="2552920"/>
            <a:ext cx="648000" cy="900000"/>
            <a:chOff x="2885677" y="2424782"/>
            <a:chExt cx="648000" cy="900000"/>
          </a:xfrm>
        </p:grpSpPr>
        <p:sp>
          <p:nvSpPr>
            <p:cNvPr id="75" name="Rectangle 35"/>
            <p:cNvSpPr>
              <a:spLocks noChangeArrowheads="1"/>
            </p:cNvSpPr>
            <p:nvPr/>
          </p:nvSpPr>
          <p:spPr bwMode="auto">
            <a:xfrm>
              <a:off x="2885677" y="2424782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IMEFLEX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IT Infrastructure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olution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e-sales</a:t>
              </a:r>
            </a:p>
            <a:p>
              <a:pPr algn="ctr"/>
              <a:r>
                <a:rPr lang="en-US" sz="700" b="1" dirty="0" smtClean="0">
                  <a:solidFill>
                    <a:schemeClr val="bg1"/>
                  </a:solidFill>
                  <a:ea typeface="MS UI Gothic" pitchFamily="34" charset="-128"/>
                </a:rPr>
                <a:t>VC</a:t>
              </a:r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5" name="Rectangle 33"/>
            <p:cNvSpPr>
              <a:spLocks noChangeArrowheads="1"/>
            </p:cNvSpPr>
            <p:nvPr/>
          </p:nvSpPr>
          <p:spPr bwMode="auto">
            <a:xfrm>
              <a:off x="3317677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3</a:t>
              </a:r>
            </a:p>
          </p:txBody>
        </p:sp>
        <p:pic>
          <p:nvPicPr>
            <p:cNvPr id="161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885677" y="3180782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6" name="Gruppieren 35"/>
          <p:cNvGrpSpPr/>
          <p:nvPr/>
        </p:nvGrpSpPr>
        <p:grpSpPr>
          <a:xfrm>
            <a:off x="5580112" y="2552920"/>
            <a:ext cx="648000" cy="900000"/>
            <a:chOff x="6890120" y="2424782"/>
            <a:chExt cx="648000" cy="900000"/>
          </a:xfrm>
        </p:grpSpPr>
        <p:sp>
          <p:nvSpPr>
            <p:cNvPr id="117" name="Rectangle 35"/>
            <p:cNvSpPr>
              <a:spLocks noChangeArrowheads="1"/>
            </p:cNvSpPr>
            <p:nvPr/>
          </p:nvSpPr>
          <p:spPr bwMode="auto">
            <a:xfrm>
              <a:off x="6890120" y="2424782"/>
              <a:ext cx="648000" cy="90000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erver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Tech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ommunity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orkshop</a:t>
              </a:r>
            </a:p>
          </p:txBody>
        </p:sp>
        <p:sp>
          <p:nvSpPr>
            <p:cNvPr id="118" name="Rectangle 33"/>
            <p:cNvSpPr>
              <a:spLocks noChangeArrowheads="1"/>
            </p:cNvSpPr>
            <p:nvPr/>
          </p:nvSpPr>
          <p:spPr bwMode="auto">
            <a:xfrm>
              <a:off x="7322120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4</a:t>
              </a:r>
            </a:p>
          </p:txBody>
        </p:sp>
        <p:pic>
          <p:nvPicPr>
            <p:cNvPr id="167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90120" y="3180782"/>
              <a:ext cx="210561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4" name="Gruppieren 23"/>
          <p:cNvGrpSpPr/>
          <p:nvPr/>
        </p:nvGrpSpPr>
        <p:grpSpPr>
          <a:xfrm>
            <a:off x="1619672" y="1467851"/>
            <a:ext cx="648000" cy="900556"/>
            <a:chOff x="2123728" y="1339713"/>
            <a:chExt cx="648000" cy="900556"/>
          </a:xfrm>
        </p:grpSpPr>
        <p:sp>
          <p:nvSpPr>
            <p:cNvPr id="70" name="Rectangle 35"/>
            <p:cNvSpPr>
              <a:spLocks noChangeArrowheads="1"/>
            </p:cNvSpPr>
            <p:nvPr/>
          </p:nvSpPr>
          <p:spPr bwMode="auto">
            <a:xfrm>
              <a:off x="2123728" y="1339713"/>
              <a:ext cx="648000" cy="900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IMEFLEX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IT Infrastructure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olution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0" name="Rectangle 33"/>
            <p:cNvSpPr>
              <a:spLocks noChangeArrowheads="1"/>
            </p:cNvSpPr>
            <p:nvPr/>
          </p:nvSpPr>
          <p:spPr bwMode="auto">
            <a:xfrm>
              <a:off x="2555728" y="2095713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3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123728" y="2096269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"/>
          <p:cNvGrpSpPr/>
          <p:nvPr/>
        </p:nvGrpSpPr>
        <p:grpSpPr>
          <a:xfrm>
            <a:off x="4410167" y="4784964"/>
            <a:ext cx="2162264" cy="163050"/>
            <a:chOff x="4410167" y="5052450"/>
            <a:chExt cx="2162264" cy="163050"/>
          </a:xfrm>
        </p:grpSpPr>
        <p:sp>
          <p:nvSpPr>
            <p:cNvPr id="126" name="Rectangle 33"/>
            <p:cNvSpPr>
              <a:spLocks noChangeArrowheads="1"/>
            </p:cNvSpPr>
            <p:nvPr/>
          </p:nvSpPr>
          <p:spPr bwMode="auto">
            <a:xfrm>
              <a:off x="4562147" y="5071500"/>
              <a:ext cx="2010284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Mandatory course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28" name="Rectangle 33"/>
            <p:cNvSpPr>
              <a:spLocks noChangeArrowheads="1"/>
            </p:cNvSpPr>
            <p:nvPr/>
          </p:nvSpPr>
          <p:spPr bwMode="auto">
            <a:xfrm>
              <a:off x="4410167" y="5052450"/>
              <a:ext cx="180000" cy="144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6301408" y="2557506"/>
            <a:ext cx="648000" cy="900000"/>
            <a:chOff x="6819904" y="2397740"/>
            <a:chExt cx="648000" cy="900000"/>
          </a:xfrm>
        </p:grpSpPr>
        <p:grpSp>
          <p:nvGrpSpPr>
            <p:cNvPr id="141" name="Gruppieren 30"/>
            <p:cNvGrpSpPr/>
            <p:nvPr/>
          </p:nvGrpSpPr>
          <p:grpSpPr>
            <a:xfrm>
              <a:off x="6819904" y="2397740"/>
              <a:ext cx="648000" cy="900000"/>
              <a:chOff x="2885677" y="2424782"/>
              <a:chExt cx="648000" cy="900000"/>
            </a:xfrm>
          </p:grpSpPr>
          <p:sp>
            <p:nvSpPr>
              <p:cNvPr id="145" name="Rectangle 35"/>
              <p:cNvSpPr>
                <a:spLocks noChangeArrowheads="1"/>
              </p:cNvSpPr>
              <p:nvPr/>
            </p:nvSpPr>
            <p:spPr bwMode="auto">
              <a:xfrm>
                <a:off x="2885677" y="2424782"/>
                <a:ext cx="648000" cy="90000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Virtualization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Tech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Community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Workshop 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46" name="Rectangle 33"/>
              <p:cNvSpPr>
                <a:spLocks noChangeArrowheads="1"/>
              </p:cNvSpPr>
              <p:nvPr/>
            </p:nvSpPr>
            <p:spPr bwMode="auto">
              <a:xfrm>
                <a:off x="3317677" y="3180782"/>
                <a:ext cx="216000" cy="144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4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</p:grpSp>
        <p:pic>
          <p:nvPicPr>
            <p:cNvPr id="144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19904" y="3153740"/>
              <a:ext cx="210561" cy="14400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47" name="Picture 1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865" y="52913"/>
            <a:ext cx="706317" cy="71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225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115192" y="72557"/>
            <a:ext cx="7561264" cy="770953"/>
          </a:xfrm>
        </p:spPr>
        <p:txBody>
          <a:bodyPr/>
          <a:lstStyle/>
          <a:p>
            <a:r>
              <a:rPr lang="de-DE" dirty="0"/>
              <a:t> </a:t>
            </a:r>
            <a:r>
              <a:rPr lang="de-DE" dirty="0" err="1" smtClean="0"/>
              <a:t>Tallennusjärjestelmät</a:t>
            </a:r>
            <a:r>
              <a:rPr lang="de-DE" dirty="0" smtClean="0"/>
              <a:t> </a:t>
            </a:r>
            <a:r>
              <a:rPr lang="de-DE" sz="1800" dirty="0" smtClean="0"/>
              <a:t>(</a:t>
            </a:r>
            <a:r>
              <a:rPr lang="de-DE" sz="1800" dirty="0" err="1" smtClean="0"/>
              <a:t>vaihtoehto</a:t>
            </a:r>
            <a:r>
              <a:rPr lang="de-DE" sz="1800" dirty="0" smtClean="0"/>
              <a:t> 1)</a:t>
            </a:r>
            <a:endParaRPr lang="de-DE" dirty="0"/>
          </a:p>
        </p:txBody>
      </p:sp>
      <p:sp>
        <p:nvSpPr>
          <p:cNvPr id="86" name="AutoShape 36"/>
          <p:cNvSpPr>
            <a:spLocks noChangeArrowheads="1"/>
          </p:cNvSpPr>
          <p:nvPr/>
        </p:nvSpPr>
        <p:spPr bwMode="auto">
          <a:xfrm>
            <a:off x="232400" y="1115712"/>
            <a:ext cx="8660080" cy="3544270"/>
          </a:xfrm>
          <a:prstGeom prst="roundRect">
            <a:avLst>
              <a:gd name="adj" fmla="val 3898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87" name="AutoShape 8"/>
          <p:cNvSpPr>
            <a:spLocks noChangeArrowheads="1"/>
          </p:cNvSpPr>
          <p:nvPr/>
        </p:nvSpPr>
        <p:spPr bwMode="auto">
          <a:xfrm>
            <a:off x="257477" y="1683377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8" name="AutoShape 8"/>
          <p:cNvSpPr>
            <a:spLocks noChangeArrowheads="1"/>
          </p:cNvSpPr>
          <p:nvPr/>
        </p:nvSpPr>
        <p:spPr bwMode="auto">
          <a:xfrm>
            <a:off x="251519" y="2786754"/>
            <a:ext cx="7992889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59" name="AutoShape 8"/>
          <p:cNvSpPr>
            <a:spLocks noChangeArrowheads="1"/>
          </p:cNvSpPr>
          <p:nvPr/>
        </p:nvSpPr>
        <p:spPr bwMode="auto">
          <a:xfrm>
            <a:off x="257477" y="3866874"/>
            <a:ext cx="7986931" cy="622578"/>
          </a:xfrm>
          <a:prstGeom prst="rightArrow">
            <a:avLst>
              <a:gd name="adj1" fmla="val 44139"/>
              <a:gd name="adj2" fmla="val 36411"/>
            </a:avLst>
          </a:prstGeom>
          <a:solidFill>
            <a:srgbClr val="C0C0C0"/>
          </a:soli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cxnSp>
        <p:nvCxnSpPr>
          <p:cNvPr id="109" name="Gerade Verbindung 108"/>
          <p:cNvCxnSpPr/>
          <p:nvPr/>
        </p:nvCxnSpPr>
        <p:spPr bwMode="auto">
          <a:xfrm>
            <a:off x="2537006" y="1159526"/>
            <a:ext cx="0" cy="358900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6" name="Gerade Verbindung 115"/>
          <p:cNvCxnSpPr/>
          <p:nvPr/>
        </p:nvCxnSpPr>
        <p:spPr bwMode="auto">
          <a:xfrm>
            <a:off x="5076056" y="1208696"/>
            <a:ext cx="0" cy="353983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chemeClr val="bg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27" name="Rectangle 32"/>
          <p:cNvSpPr>
            <a:spLocks noChangeArrowheads="1"/>
          </p:cNvSpPr>
          <p:nvPr/>
        </p:nvSpPr>
        <p:spPr bwMode="auto">
          <a:xfrm>
            <a:off x="8280472" y="1547760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Sales Professionals</a:t>
            </a:r>
          </a:p>
        </p:txBody>
      </p:sp>
      <p:sp>
        <p:nvSpPr>
          <p:cNvPr id="129" name="Rectangle 32"/>
          <p:cNvSpPr>
            <a:spLocks noChangeArrowheads="1"/>
          </p:cNvSpPr>
          <p:nvPr/>
        </p:nvSpPr>
        <p:spPr bwMode="auto">
          <a:xfrm>
            <a:off x="8280472" y="2602962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>
                <a:solidFill>
                  <a:schemeClr val="bg1"/>
                </a:solidFill>
                <a:ea typeface="MS UI Gothic" pitchFamily="34" charset="-128"/>
              </a:rPr>
              <a:t>PreSales Consultants</a:t>
            </a:r>
          </a:p>
        </p:txBody>
      </p:sp>
      <p:sp>
        <p:nvSpPr>
          <p:cNvPr id="130" name="Rectangle 32"/>
          <p:cNvSpPr>
            <a:spLocks noChangeArrowheads="1"/>
          </p:cNvSpPr>
          <p:nvPr/>
        </p:nvSpPr>
        <p:spPr bwMode="auto">
          <a:xfrm>
            <a:off x="8280472" y="3658164"/>
            <a:ext cx="540000" cy="96821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vert="vert270" wrap="square" anchor="t"/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ea typeface="MS UI Gothic" pitchFamily="34" charset="-128"/>
              </a:rPr>
              <a:t>System Engineers</a:t>
            </a:r>
            <a:endParaRPr lang="en-US" sz="1000" b="1" dirty="0">
              <a:solidFill>
                <a:schemeClr val="bg1"/>
              </a:solidFill>
              <a:ea typeface="MS UI Gothic" pitchFamily="34" charset="-128"/>
            </a:endParaRPr>
          </a:p>
        </p:txBody>
      </p:sp>
      <p:sp>
        <p:nvSpPr>
          <p:cNvPr id="80" name="Rechteck 20"/>
          <p:cNvSpPr/>
          <p:nvPr/>
        </p:nvSpPr>
        <p:spPr bwMode="auto">
          <a:xfrm>
            <a:off x="8280472" y="1169859"/>
            <a:ext cx="540000" cy="3240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8C8C8"/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fontAlgn="ctr">
              <a:defRPr/>
            </a:pPr>
            <a:r>
              <a:rPr lang="de-DE" sz="2000" b="1" dirty="0" smtClean="0">
                <a:solidFill>
                  <a:srgbClr val="CC0000"/>
                </a:solidFill>
                <a:latin typeface="Arial" charset="0"/>
                <a:ea typeface="MS UI Gothic" pitchFamily="50" charset="-128"/>
              </a:rPr>
              <a:t>12</a:t>
            </a:r>
            <a:endParaRPr lang="de-DE" sz="2000" b="1" dirty="0">
              <a:solidFill>
                <a:srgbClr val="CC0000"/>
              </a:solidFill>
              <a:latin typeface="Arial" charset="0"/>
              <a:ea typeface="MS UI Gothic" pitchFamily="50" charset="-128"/>
            </a:endParaRPr>
          </a:p>
        </p:txBody>
      </p:sp>
      <p:grpSp>
        <p:nvGrpSpPr>
          <p:cNvPr id="26" name="Gruppieren 25"/>
          <p:cNvGrpSpPr/>
          <p:nvPr/>
        </p:nvGrpSpPr>
        <p:grpSpPr>
          <a:xfrm>
            <a:off x="2662306" y="1493859"/>
            <a:ext cx="678585" cy="903352"/>
            <a:chOff x="3647552" y="1333327"/>
            <a:chExt cx="648000" cy="900000"/>
          </a:xfrm>
        </p:grpSpPr>
        <p:sp>
          <p:nvSpPr>
            <p:cNvPr id="72" name="Rectangle 35"/>
            <p:cNvSpPr>
              <a:spLocks noChangeArrowheads="1"/>
            </p:cNvSpPr>
            <p:nvPr/>
          </p:nvSpPr>
          <p:spPr bwMode="auto">
            <a:xfrm>
              <a:off x="3647552" y="1333327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DX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oftware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</a:p>
            <a:p>
              <a:pPr algn="ctr"/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2" name="Rectangle 33"/>
            <p:cNvSpPr>
              <a:spLocks noChangeArrowheads="1"/>
            </p:cNvSpPr>
            <p:nvPr/>
          </p:nvSpPr>
          <p:spPr bwMode="auto">
            <a:xfrm>
              <a:off x="4079552" y="2089327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9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2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2" name="Gruppieren 31"/>
          <p:cNvGrpSpPr/>
          <p:nvPr/>
        </p:nvGrpSpPr>
        <p:grpSpPr>
          <a:xfrm>
            <a:off x="2662306" y="2635394"/>
            <a:ext cx="678586" cy="903352"/>
            <a:chOff x="3647553" y="2424782"/>
            <a:chExt cx="648000" cy="900000"/>
          </a:xfrm>
        </p:grpSpPr>
        <p:sp>
          <p:nvSpPr>
            <p:cNvPr id="76" name="Rectangle 35"/>
            <p:cNvSpPr>
              <a:spLocks noChangeArrowheads="1"/>
            </p:cNvSpPr>
            <p:nvPr/>
          </p:nvSpPr>
          <p:spPr bwMode="auto">
            <a:xfrm>
              <a:off x="3647553" y="2424782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7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DX Software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e-sale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9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96" name="Rectangle 33"/>
            <p:cNvSpPr>
              <a:spLocks noChangeArrowheads="1"/>
            </p:cNvSpPr>
            <p:nvPr/>
          </p:nvSpPr>
          <p:spPr bwMode="auto">
            <a:xfrm>
              <a:off x="4079553" y="3180782"/>
              <a:ext cx="216000" cy="14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8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647553" y="3180782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3"/>
          <p:cNvGrpSpPr/>
          <p:nvPr/>
        </p:nvGrpSpPr>
        <p:grpSpPr>
          <a:xfrm>
            <a:off x="6624248" y="4804014"/>
            <a:ext cx="1906572" cy="144000"/>
            <a:chOff x="6624248" y="4781587"/>
            <a:chExt cx="1906572" cy="144000"/>
          </a:xfrm>
        </p:grpSpPr>
        <p:sp>
          <p:nvSpPr>
            <p:cNvPr id="131" name="Rectangle 33"/>
            <p:cNvSpPr>
              <a:spLocks noChangeArrowheads="1"/>
            </p:cNvSpPr>
            <p:nvPr/>
          </p:nvSpPr>
          <p:spPr bwMode="auto">
            <a:xfrm>
              <a:off x="6807155" y="4781587"/>
              <a:ext cx="1723665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Point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32" name="Rectangle 33"/>
            <p:cNvSpPr>
              <a:spLocks noChangeArrowheads="1"/>
            </p:cNvSpPr>
            <p:nvPr/>
          </p:nvSpPr>
          <p:spPr bwMode="auto">
            <a:xfrm>
              <a:off x="6624248" y="4781587"/>
              <a:ext cx="180000" cy="144000"/>
            </a:xfrm>
            <a:prstGeom prst="rect">
              <a:avLst/>
            </a:prstGeom>
            <a:solidFill>
              <a:schemeClr val="accent1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2555776" y="4781587"/>
            <a:ext cx="1564714" cy="144000"/>
            <a:chOff x="4283968" y="4781587"/>
            <a:chExt cx="1564714" cy="144000"/>
          </a:xfrm>
        </p:grpSpPr>
        <p:pic>
          <p:nvPicPr>
            <p:cNvPr id="8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026080" y="4781587"/>
              <a:ext cx="210561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pic>
          <p:nvPicPr>
            <p:cNvPr id="102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283968" y="4781587"/>
              <a:ext cx="213060" cy="144000"/>
            </a:xfrm>
            <a:prstGeom prst="rect">
              <a:avLst/>
            </a:prstGeom>
            <a:noFill/>
            <a:ln w="3175">
              <a:solidFill>
                <a:srgbClr val="7E7D76"/>
              </a:solidFill>
              <a:miter lim="800000"/>
              <a:headEnd/>
              <a:tailEnd/>
            </a:ln>
          </p:spPr>
        </p:pic>
        <p:sp>
          <p:nvSpPr>
            <p:cNvPr id="155" name="Rectangle 33"/>
            <p:cNvSpPr>
              <a:spLocks noChangeArrowheads="1"/>
            </p:cNvSpPr>
            <p:nvPr/>
          </p:nvSpPr>
          <p:spPr bwMode="auto">
            <a:xfrm>
              <a:off x="4499992" y="4781587"/>
              <a:ext cx="326557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WBT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56" name="Rectangle 33"/>
            <p:cNvSpPr>
              <a:spLocks noChangeArrowheads="1"/>
            </p:cNvSpPr>
            <p:nvPr/>
          </p:nvSpPr>
          <p:spPr bwMode="auto">
            <a:xfrm>
              <a:off x="5220072" y="4781587"/>
              <a:ext cx="628610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Instructor led</a:t>
              </a:r>
              <a:endParaRPr lang="en-US" sz="700" dirty="0">
                <a:ea typeface="MS UI Gothic" pitchFamily="34" charset="-128"/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1072605" y="3721717"/>
            <a:ext cx="619075" cy="903352"/>
            <a:chOff x="1187624" y="3521571"/>
            <a:chExt cx="648000" cy="900000"/>
          </a:xfrm>
          <a:solidFill>
            <a:srgbClr val="FF0000"/>
          </a:solidFill>
        </p:grpSpPr>
        <p:sp>
          <p:nvSpPr>
            <p:cNvPr id="68" name="Rectangle 35"/>
            <p:cNvSpPr>
              <a:spLocks noChangeArrowheads="1"/>
            </p:cNvSpPr>
            <p:nvPr/>
          </p:nvSpPr>
          <p:spPr bwMode="auto">
            <a:xfrm>
              <a:off x="1187624" y="3521571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DX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Entry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Installation</a:t>
              </a:r>
              <a:endParaRPr lang="en-US" sz="1000" b="1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69" name="Rectangle 33"/>
            <p:cNvSpPr>
              <a:spLocks noChangeArrowheads="1"/>
            </p:cNvSpPr>
            <p:nvPr/>
          </p:nvSpPr>
          <p:spPr bwMode="auto">
            <a:xfrm>
              <a:off x="1619624" y="4277571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59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187624" y="4277571"/>
              <a:ext cx="210561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2" name="Gruppieren 41"/>
          <p:cNvGrpSpPr/>
          <p:nvPr/>
        </p:nvGrpSpPr>
        <p:grpSpPr>
          <a:xfrm>
            <a:off x="3468890" y="3723029"/>
            <a:ext cx="648072" cy="903352"/>
            <a:chOff x="4409429" y="3521571"/>
            <a:chExt cx="648000" cy="900000"/>
          </a:xfrm>
          <a:solidFill>
            <a:srgbClr val="FF0000"/>
          </a:solidFill>
        </p:grpSpPr>
        <p:sp>
          <p:nvSpPr>
            <p:cNvPr id="104" name="Rectangle 35"/>
            <p:cNvSpPr>
              <a:spLocks noChangeArrowheads="1"/>
            </p:cNvSpPr>
            <p:nvPr/>
          </p:nvSpPr>
          <p:spPr bwMode="auto">
            <a:xfrm>
              <a:off x="4409429" y="3521571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ea typeface="MS UI Gothic" pitchFamily="34" charset="-128"/>
                </a:rPr>
                <a:t>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F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Manager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(1 day)</a:t>
              </a:r>
              <a:endParaRPr lang="en-US" sz="8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11" name="Rectangle 33"/>
            <p:cNvSpPr>
              <a:spLocks noChangeArrowheads="1"/>
            </p:cNvSpPr>
            <p:nvPr/>
          </p:nvSpPr>
          <p:spPr bwMode="auto">
            <a:xfrm>
              <a:off x="4841429" y="4277571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3</a:t>
              </a:r>
            </a:p>
          </p:txBody>
        </p:sp>
        <p:pic>
          <p:nvPicPr>
            <p:cNvPr id="164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409429" y="4277571"/>
              <a:ext cx="210561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4" name="Gruppieren 22"/>
          <p:cNvGrpSpPr/>
          <p:nvPr/>
        </p:nvGrpSpPr>
        <p:grpSpPr>
          <a:xfrm>
            <a:off x="370904" y="1470722"/>
            <a:ext cx="600695" cy="903352"/>
            <a:chOff x="395536" y="1324375"/>
            <a:chExt cx="648000" cy="900000"/>
          </a:xfrm>
        </p:grpSpPr>
        <p:sp>
          <p:nvSpPr>
            <p:cNvPr id="135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ETERNUS DX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Entry and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Midrange</a:t>
              </a:r>
              <a:b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</a:br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(60 min)</a:t>
              </a:r>
              <a:endParaRPr lang="en-US" sz="9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36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37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8" name="Gruppieren 22"/>
          <p:cNvGrpSpPr/>
          <p:nvPr/>
        </p:nvGrpSpPr>
        <p:grpSpPr>
          <a:xfrm>
            <a:off x="359592" y="2627880"/>
            <a:ext cx="612007" cy="903352"/>
            <a:chOff x="395536" y="1324375"/>
            <a:chExt cx="648000" cy="900000"/>
          </a:xfrm>
        </p:grpSpPr>
        <p:sp>
          <p:nvSpPr>
            <p:cNvPr id="140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ETERNUS DX </a:t>
              </a:r>
              <a:endParaRPr lang="en-US" sz="7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Entry </a:t>
              </a:r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and 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Midrange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Pre-sales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(50 min)</a:t>
              </a:r>
              <a:endParaRPr lang="en-US" sz="9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41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4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50" name="Gruppieren 22"/>
          <p:cNvGrpSpPr/>
          <p:nvPr/>
        </p:nvGrpSpPr>
        <p:grpSpPr>
          <a:xfrm>
            <a:off x="370418" y="3728163"/>
            <a:ext cx="601181" cy="903352"/>
            <a:chOff x="395536" y="1324375"/>
            <a:chExt cx="648000" cy="900000"/>
          </a:xfrm>
          <a:solidFill>
            <a:srgbClr val="FF0000"/>
          </a:solidFill>
        </p:grpSpPr>
        <p:sp>
          <p:nvSpPr>
            <p:cNvPr id="152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DX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Entry Install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and </a:t>
              </a:r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Maintain </a:t>
              </a:r>
              <a:endParaRPr lang="en-US" sz="800" dirty="0" smtClean="0">
                <a:solidFill>
                  <a:schemeClr val="bg1"/>
                </a:solidFill>
                <a:ea typeface="MS UI Gothic" pitchFamily="34" charset="-128"/>
              </a:endParaRP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10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53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71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"/>
          <p:cNvGrpSpPr/>
          <p:nvPr/>
        </p:nvGrpSpPr>
        <p:grpSpPr>
          <a:xfrm>
            <a:off x="4319429" y="4793385"/>
            <a:ext cx="2190847" cy="154629"/>
            <a:chOff x="4319429" y="4793385"/>
            <a:chExt cx="2190847" cy="154629"/>
          </a:xfrm>
        </p:grpSpPr>
        <p:sp>
          <p:nvSpPr>
            <p:cNvPr id="176" name="Rectangle 33"/>
            <p:cNvSpPr>
              <a:spLocks noChangeArrowheads="1"/>
            </p:cNvSpPr>
            <p:nvPr/>
          </p:nvSpPr>
          <p:spPr bwMode="auto">
            <a:xfrm>
              <a:off x="4499992" y="4804014"/>
              <a:ext cx="2010284" cy="144000"/>
            </a:xfrm>
            <a:prstGeom prst="rect">
              <a:avLst/>
            </a:prstGeom>
            <a:no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ea typeface="MS UI Gothic" pitchFamily="34" charset="-128"/>
                </a:rPr>
                <a:t>Mandatory courses for SELECT Partner Program</a:t>
              </a:r>
              <a:endParaRPr lang="en-US" sz="700" dirty="0">
                <a:ea typeface="MS UI Gothic" pitchFamily="34" charset="-128"/>
              </a:endParaRPr>
            </a:p>
          </p:txBody>
        </p:sp>
        <p:sp>
          <p:nvSpPr>
            <p:cNvPr id="177" name="Rectangle 33"/>
            <p:cNvSpPr>
              <a:spLocks noChangeArrowheads="1"/>
            </p:cNvSpPr>
            <p:nvPr/>
          </p:nvSpPr>
          <p:spPr bwMode="auto">
            <a:xfrm>
              <a:off x="4319429" y="4793385"/>
              <a:ext cx="180000" cy="144000"/>
            </a:xfrm>
            <a:prstGeom prst="rect">
              <a:avLst/>
            </a:prstGeom>
            <a:solidFill>
              <a:schemeClr val="accent2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192" name="Gruppieren 35"/>
          <p:cNvGrpSpPr/>
          <p:nvPr/>
        </p:nvGrpSpPr>
        <p:grpSpPr>
          <a:xfrm>
            <a:off x="5905173" y="2641475"/>
            <a:ext cx="582468" cy="903352"/>
            <a:chOff x="6890120" y="2424782"/>
            <a:chExt cx="698962" cy="900000"/>
          </a:xfrm>
          <a:solidFill>
            <a:srgbClr val="FF0000"/>
          </a:solidFill>
        </p:grpSpPr>
        <p:sp>
          <p:nvSpPr>
            <p:cNvPr id="193" name="Rectangle 35"/>
            <p:cNvSpPr>
              <a:spLocks noChangeArrowheads="1"/>
            </p:cNvSpPr>
            <p:nvPr/>
          </p:nvSpPr>
          <p:spPr bwMode="auto">
            <a:xfrm>
              <a:off x="6931370" y="2424782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Tech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Community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Data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Management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Workshop</a:t>
              </a:r>
            </a:p>
          </p:txBody>
        </p:sp>
        <p:sp>
          <p:nvSpPr>
            <p:cNvPr id="194" name="Rectangle 33"/>
            <p:cNvSpPr>
              <a:spLocks noChangeArrowheads="1"/>
            </p:cNvSpPr>
            <p:nvPr/>
          </p:nvSpPr>
          <p:spPr bwMode="auto">
            <a:xfrm>
              <a:off x="7373082" y="3180782"/>
              <a:ext cx="216000" cy="144000"/>
            </a:xfrm>
            <a:prstGeom prst="rect">
              <a:avLst/>
            </a:prstGeom>
            <a:grpFill/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  <a:ea typeface="MS UI Gothic" pitchFamily="34" charset="-128"/>
                </a:rPr>
                <a:t>4</a:t>
              </a:r>
            </a:p>
          </p:txBody>
        </p:sp>
        <p:pic>
          <p:nvPicPr>
            <p:cNvPr id="195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90120" y="3180782"/>
              <a:ext cx="210561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oup 6"/>
          <p:cNvGrpSpPr/>
          <p:nvPr/>
        </p:nvGrpSpPr>
        <p:grpSpPr>
          <a:xfrm>
            <a:off x="5226749" y="2635394"/>
            <a:ext cx="594881" cy="903352"/>
            <a:chOff x="5442500" y="2424782"/>
            <a:chExt cx="648000" cy="900000"/>
          </a:xfrm>
          <a:solidFill>
            <a:srgbClr val="FF0000"/>
          </a:solidFill>
        </p:grpSpPr>
        <p:grpSp>
          <p:nvGrpSpPr>
            <p:cNvPr id="35" name="Gruppieren 34"/>
            <p:cNvGrpSpPr/>
            <p:nvPr/>
          </p:nvGrpSpPr>
          <p:grpSpPr>
            <a:xfrm>
              <a:off x="5442500" y="2424782"/>
              <a:ext cx="648000" cy="900000"/>
              <a:chOff x="6096744" y="2424782"/>
              <a:chExt cx="648000" cy="900000"/>
            </a:xfrm>
            <a:grpFill/>
          </p:grpSpPr>
          <p:sp>
            <p:nvSpPr>
              <p:cNvPr id="114" name="Rectangle 35"/>
              <p:cNvSpPr>
                <a:spLocks noChangeArrowheads="1"/>
              </p:cNvSpPr>
              <p:nvPr/>
            </p:nvSpPr>
            <p:spPr bwMode="auto">
              <a:xfrm>
                <a:off x="6096744" y="2424782"/>
                <a:ext cx="648000" cy="900000"/>
              </a:xfrm>
              <a:prstGeom prst="rect">
                <a:avLst/>
              </a:prstGeom>
              <a:grpFill/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700" dirty="0">
                    <a:solidFill>
                      <a:schemeClr val="bg1"/>
                    </a:solidFill>
                    <a:ea typeface="MS UI Gothic" pitchFamily="34" charset="-128"/>
                  </a:rPr>
                  <a:t>ETERNUS </a:t>
                </a:r>
                <a:endParaRPr lang="en-US" sz="7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ea typeface="MS UI Gothic" pitchFamily="34" charset="-128"/>
                  </a:rPr>
                  <a:t>DX </a:t>
                </a:r>
              </a:p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ea typeface="MS UI Gothic" pitchFamily="34" charset="-128"/>
                  </a:rPr>
                  <a:t>Enterprise </a:t>
                </a:r>
              </a:p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ea typeface="MS UI Gothic" pitchFamily="34" charset="-128"/>
                  </a:rPr>
                  <a:t>Pre-Sales </a:t>
                </a:r>
              </a:p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ea typeface="MS UI Gothic" pitchFamily="34" charset="-128"/>
                  </a:rPr>
                  <a:t>WBT </a:t>
                </a:r>
                <a:endParaRPr lang="en-US" sz="900" b="1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sp>
            <p:nvSpPr>
              <p:cNvPr id="115" name="Rectangle 33"/>
              <p:cNvSpPr>
                <a:spLocks noChangeArrowheads="1"/>
              </p:cNvSpPr>
              <p:nvPr/>
            </p:nvSpPr>
            <p:spPr bwMode="auto">
              <a:xfrm>
                <a:off x="6528744" y="3180782"/>
                <a:ext cx="216000" cy="144000"/>
              </a:xfrm>
              <a:prstGeom prst="rect">
                <a:avLst/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en-US" sz="700" dirty="0">
                    <a:solidFill>
                      <a:schemeClr val="bg1"/>
                    </a:solidFill>
                    <a:ea typeface="MS UI Gothic" pitchFamily="34" charset="-128"/>
                  </a:rPr>
                  <a:t>3</a:t>
                </a:r>
              </a:p>
            </p:txBody>
          </p:sp>
        </p:grpSp>
        <p:pic>
          <p:nvPicPr>
            <p:cNvPr id="201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442900" y="3180782"/>
              <a:ext cx="180738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3" name="Gruppieren 22"/>
          <p:cNvGrpSpPr/>
          <p:nvPr/>
        </p:nvGrpSpPr>
        <p:grpSpPr>
          <a:xfrm>
            <a:off x="5226749" y="1534728"/>
            <a:ext cx="594881" cy="903352"/>
            <a:chOff x="395536" y="1324375"/>
            <a:chExt cx="648000" cy="900000"/>
          </a:xfrm>
        </p:grpSpPr>
        <p:sp>
          <p:nvSpPr>
            <p:cNvPr id="142" name="Rectangle 35"/>
            <p:cNvSpPr>
              <a:spLocks noChangeArrowheads="1"/>
            </p:cNvSpPr>
            <p:nvPr/>
          </p:nvSpPr>
          <p:spPr bwMode="auto">
            <a:xfrm>
              <a:off x="395536" y="1324375"/>
              <a:ext cx="648000" cy="900000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ETERNUS DX 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Enterprise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 </a:t>
              </a:r>
              <a:r>
                <a:rPr lang="en-US" sz="700" dirty="0">
                  <a:solidFill>
                    <a:schemeClr val="bg1"/>
                  </a:solidFill>
                  <a:ea typeface="MS UI Gothic" pitchFamily="34" charset="-128"/>
                </a:rPr>
                <a:t>WBT</a:t>
              </a:r>
              <a:endParaRPr lang="en-US" sz="9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143" name="Rectangle 33"/>
            <p:cNvSpPr>
              <a:spLocks noChangeArrowheads="1"/>
            </p:cNvSpPr>
            <p:nvPr/>
          </p:nvSpPr>
          <p:spPr bwMode="auto">
            <a:xfrm>
              <a:off x="827536" y="2080375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3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51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95536" y="2080375"/>
              <a:ext cx="180738" cy="14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28" name="Gruppieren 37"/>
          <p:cNvGrpSpPr/>
          <p:nvPr/>
        </p:nvGrpSpPr>
        <p:grpSpPr>
          <a:xfrm>
            <a:off x="1799752" y="3723029"/>
            <a:ext cx="612008" cy="903352"/>
            <a:chOff x="1187624" y="3521571"/>
            <a:chExt cx="648000" cy="900000"/>
          </a:xfrm>
          <a:solidFill>
            <a:srgbClr val="FF0000"/>
          </a:solidFill>
        </p:grpSpPr>
        <p:sp>
          <p:nvSpPr>
            <p:cNvPr id="145" name="Rectangle 35"/>
            <p:cNvSpPr>
              <a:spLocks noChangeArrowheads="1"/>
            </p:cNvSpPr>
            <p:nvPr/>
          </p:nvSpPr>
          <p:spPr bwMode="auto">
            <a:xfrm>
              <a:off x="1187624" y="3521571"/>
              <a:ext cx="648000" cy="900000"/>
            </a:xfrm>
            <a:prstGeom prst="rect">
              <a:avLst/>
            </a:prstGeom>
            <a:grpFill/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ETERNUS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DX 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Storage</a:t>
              </a:r>
            </a:p>
            <a:p>
              <a:pPr algn="ctr"/>
              <a:r>
                <a:rPr lang="en-US" sz="800" dirty="0" smtClean="0">
                  <a:solidFill>
                    <a:schemeClr val="bg1"/>
                  </a:solidFill>
                  <a:ea typeface="MS UI Gothic" pitchFamily="34" charset="-128"/>
                </a:rPr>
                <a:t>Cluster</a:t>
              </a:r>
            </a:p>
          </p:txBody>
        </p:sp>
        <p:sp>
          <p:nvSpPr>
            <p:cNvPr id="146" name="Rectangle 33"/>
            <p:cNvSpPr>
              <a:spLocks noChangeArrowheads="1"/>
            </p:cNvSpPr>
            <p:nvPr/>
          </p:nvSpPr>
          <p:spPr bwMode="auto">
            <a:xfrm>
              <a:off x="1619624" y="4277571"/>
              <a:ext cx="216000" cy="14400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2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147" name="Grafik 34" descr="face2face.png"/>
            <p:cNvPicPr preferRelativeResize="0">
              <a:picLocks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187624" y="4277571"/>
              <a:ext cx="210561" cy="1440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7" name="Group 16"/>
          <p:cNvGrpSpPr/>
          <p:nvPr/>
        </p:nvGrpSpPr>
        <p:grpSpPr>
          <a:xfrm>
            <a:off x="1085340" y="1475752"/>
            <a:ext cx="648072" cy="903352"/>
            <a:chOff x="1475656" y="1275606"/>
            <a:chExt cx="648072" cy="903352"/>
          </a:xfrm>
        </p:grpSpPr>
        <p:sp>
          <p:nvSpPr>
            <p:cNvPr id="204" name="Rectangle 35"/>
            <p:cNvSpPr>
              <a:spLocks noChangeArrowheads="1"/>
            </p:cNvSpPr>
            <p:nvPr/>
          </p:nvSpPr>
          <p:spPr bwMode="auto">
            <a:xfrm>
              <a:off x="1475656" y="1275606"/>
              <a:ext cx="648072" cy="903352"/>
            </a:xfrm>
            <a:prstGeom prst="rect">
              <a:avLst/>
            </a:prstGeom>
            <a:solidFill>
              <a:srgbClr val="FF0000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wrap="none" lIns="72000" tIns="72000" rIns="72000" bIns="72000" anchor="ctr" anchorCtr="1">
              <a:normAutofit/>
            </a:bodyPr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ETERNUS JX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Sales WBT</a:t>
              </a:r>
            </a:p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(30 min)</a:t>
              </a:r>
              <a:endParaRPr lang="en-US" sz="9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sp>
          <p:nvSpPr>
            <p:cNvPr id="205" name="Rectangle 33"/>
            <p:cNvSpPr>
              <a:spLocks noChangeArrowheads="1"/>
            </p:cNvSpPr>
            <p:nvPr/>
          </p:nvSpPr>
          <p:spPr bwMode="auto">
            <a:xfrm>
              <a:off x="1907704" y="2034422"/>
              <a:ext cx="216024" cy="144536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  <p:pic>
          <p:nvPicPr>
            <p:cNvPr id="206" name="Grafik 37" descr="wbt.png"/>
            <p:cNvPicPr preferRelativeResize="0">
              <a:picLocks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475656" y="2034422"/>
              <a:ext cx="180758" cy="144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Group 15"/>
          <p:cNvGrpSpPr/>
          <p:nvPr/>
        </p:nvGrpSpPr>
        <p:grpSpPr>
          <a:xfrm>
            <a:off x="1079612" y="2621448"/>
            <a:ext cx="648072" cy="904371"/>
            <a:chOff x="1475656" y="2427734"/>
            <a:chExt cx="648072" cy="904371"/>
          </a:xfrm>
        </p:grpSpPr>
        <p:grpSp>
          <p:nvGrpSpPr>
            <p:cNvPr id="15" name="Group 14"/>
            <p:cNvGrpSpPr/>
            <p:nvPr/>
          </p:nvGrpSpPr>
          <p:grpSpPr>
            <a:xfrm>
              <a:off x="1475656" y="2427734"/>
              <a:ext cx="648072" cy="903352"/>
              <a:chOff x="1475656" y="2427734"/>
              <a:chExt cx="648072" cy="903352"/>
            </a:xfrm>
          </p:grpSpPr>
          <p:sp>
            <p:nvSpPr>
              <p:cNvPr id="208" name="Rectangle 35"/>
              <p:cNvSpPr>
                <a:spLocks noChangeArrowheads="1"/>
              </p:cNvSpPr>
              <p:nvPr/>
            </p:nvSpPr>
            <p:spPr bwMode="auto">
              <a:xfrm>
                <a:off x="1475656" y="2427734"/>
                <a:ext cx="648072" cy="903352"/>
              </a:xfrm>
              <a:prstGeom prst="rect">
                <a:avLst/>
              </a:prstGeom>
              <a:solidFill>
                <a:srgbClr val="FF0000"/>
              </a:solidFill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ea typeface="MS UI Gothic" pitchFamily="34" charset="-128"/>
                  </a:rPr>
                  <a:t>ETERNUS JX</a:t>
                </a:r>
              </a:p>
              <a:p>
                <a:pPr algn="ctr"/>
                <a:r>
                  <a:rPr lang="en-US" sz="700" dirty="0" smtClean="0">
                    <a:solidFill>
                      <a:schemeClr val="bg1"/>
                    </a:solidFill>
                    <a:ea typeface="MS UI Gothic" pitchFamily="34" charset="-128"/>
                  </a:rPr>
                  <a:t>Pre-sales </a:t>
                </a:r>
                <a:r>
                  <a:rPr lang="en-US" sz="700" dirty="0">
                    <a:solidFill>
                      <a:schemeClr val="bg1"/>
                    </a:solidFill>
                    <a:ea typeface="MS UI Gothic" pitchFamily="34" charset="-128"/>
                  </a:rPr>
                  <a:t>WBT</a:t>
                </a:r>
                <a:endParaRPr lang="en-US" sz="9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pic>
            <p:nvPicPr>
              <p:cNvPr id="210" name="Grafik 37" descr="wbt.png"/>
              <p:cNvPicPr preferRelativeResize="0">
                <a:picLocks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1475656" y="3186550"/>
                <a:ext cx="180758" cy="14453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13" name="Rectangle 33"/>
            <p:cNvSpPr>
              <a:spLocks noChangeArrowheads="1"/>
            </p:cNvSpPr>
            <p:nvPr/>
          </p:nvSpPr>
          <p:spPr bwMode="auto">
            <a:xfrm>
              <a:off x="1899753" y="3187569"/>
              <a:ext cx="216024" cy="144536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1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646835" y="3714570"/>
            <a:ext cx="716244" cy="909349"/>
            <a:chOff x="3461912" y="3514424"/>
            <a:chExt cx="564834" cy="909349"/>
          </a:xfrm>
          <a:solidFill>
            <a:srgbClr val="FF0000"/>
          </a:solidFill>
        </p:grpSpPr>
        <p:grpSp>
          <p:nvGrpSpPr>
            <p:cNvPr id="14" name="Group 13"/>
            <p:cNvGrpSpPr/>
            <p:nvPr/>
          </p:nvGrpSpPr>
          <p:grpSpPr>
            <a:xfrm>
              <a:off x="3461912" y="3514424"/>
              <a:ext cx="563115" cy="909349"/>
              <a:chOff x="3317896" y="3514424"/>
              <a:chExt cx="563115" cy="909349"/>
            </a:xfrm>
            <a:grpFill/>
          </p:grpSpPr>
          <p:sp>
            <p:nvSpPr>
              <p:cNvPr id="101" name="Rectangle 35"/>
              <p:cNvSpPr>
                <a:spLocks noChangeArrowheads="1"/>
              </p:cNvSpPr>
              <p:nvPr/>
            </p:nvSpPr>
            <p:spPr bwMode="auto">
              <a:xfrm>
                <a:off x="3317896" y="3514424"/>
                <a:ext cx="563115" cy="903352"/>
              </a:xfrm>
              <a:prstGeom prst="rect">
                <a:avLst/>
              </a:prstGeom>
              <a:grpFill/>
              <a:ln w="12700">
                <a:solidFill>
                  <a:srgbClr val="5F5F5F"/>
                </a:solidFill>
                <a:miter lim="800000"/>
                <a:headEnd/>
                <a:tailEnd/>
              </a:ln>
            </p:spPr>
            <p:txBody>
              <a:bodyPr wrap="none" lIns="72000" tIns="72000" rIns="72000" bIns="72000" anchor="ctr" anchorCtr="1">
                <a:normAutofit/>
              </a:bodyPr>
              <a:lstStyle/>
              <a:p>
                <a:pPr algn="ctr"/>
                <a:r>
                  <a:rPr lang="en-US" sz="800" dirty="0">
                    <a:solidFill>
                      <a:schemeClr val="bg1"/>
                    </a:solidFill>
                    <a:ea typeface="MS UI Gothic" pitchFamily="34" charset="-128"/>
                  </a:rPr>
                  <a:t>ETERNUS </a:t>
                </a:r>
                <a:endParaRPr lang="en-US" sz="800" dirty="0" smtClean="0">
                  <a:solidFill>
                    <a:schemeClr val="bg1"/>
                  </a:solidFill>
                  <a:ea typeface="MS UI Gothic" pitchFamily="34" charset="-128"/>
                </a:endParaRP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DX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Advanced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Copy </a:t>
                </a:r>
              </a:p>
              <a:p>
                <a:pPr algn="ctr"/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Functions</a:t>
                </a:r>
                <a:b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</a:br>
                <a:r>
                  <a:rPr lang="en-US" sz="800" dirty="0" smtClean="0">
                    <a:solidFill>
                      <a:schemeClr val="bg1"/>
                    </a:solidFill>
                    <a:ea typeface="MS UI Gothic" pitchFamily="34" charset="-128"/>
                  </a:rPr>
                  <a:t>WBT</a:t>
                </a:r>
                <a:endParaRPr lang="en-US" sz="800" dirty="0">
                  <a:solidFill>
                    <a:schemeClr val="bg1"/>
                  </a:solidFill>
                  <a:ea typeface="MS UI Gothic" pitchFamily="34" charset="-128"/>
                </a:endParaRPr>
              </a:p>
            </p:txBody>
          </p:sp>
          <p:pic>
            <p:nvPicPr>
              <p:cNvPr id="212" name="Grafik 37" descr="wbt.png"/>
              <p:cNvPicPr preferRelativeResize="0">
                <a:picLocks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3324011" y="4279237"/>
                <a:ext cx="180758" cy="144536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09" name="Rectangle 33"/>
            <p:cNvSpPr>
              <a:spLocks noChangeArrowheads="1"/>
            </p:cNvSpPr>
            <p:nvPr/>
          </p:nvSpPr>
          <p:spPr bwMode="auto">
            <a:xfrm>
              <a:off x="3810722" y="4276195"/>
              <a:ext cx="216024" cy="144536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en-US" sz="700" dirty="0" smtClean="0">
                  <a:solidFill>
                    <a:schemeClr val="bg1"/>
                  </a:solidFill>
                  <a:ea typeface="MS UI Gothic" pitchFamily="34" charset="-128"/>
                </a:rPr>
                <a:t>0</a:t>
              </a:r>
              <a:endParaRPr lang="en-US" sz="700" dirty="0">
                <a:solidFill>
                  <a:schemeClr val="bg1"/>
                </a:solidFill>
                <a:ea typeface="MS UI Gothic" pitchFamily="34" charset="-128"/>
              </a:endParaRPr>
            </a:p>
          </p:txBody>
        </p:sp>
      </p:grpSp>
      <p:pic>
        <p:nvPicPr>
          <p:cNvPr id="149" name="Picture 1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983" y="51470"/>
            <a:ext cx="819981" cy="834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327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-TEMPLATE" val="Master 16-9_red.potx"/>
  <p:tag name="VCTMASTER" val="Fujitsu Master 16-9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25;21.25;42.5;42.5;56.25;56.25;70.62504;70.62496;8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ANGLE" val="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KFDn8cx0CHGLfX82g0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heme/theme1.xml><?xml version="1.0" encoding="utf-8"?>
<a:theme xmlns:a="http://schemas.openxmlformats.org/drawingml/2006/main" name="2013 10 19 - NEW Fujitsu-Forum-2013-PowerPoint-TEMPLATE">
  <a:themeElements>
    <a:clrScheme name="NewsPrint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Master-16-9-RED-FTS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Master-16-9-RED-FTS Graphical Examples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B8F524702DB348A7553F34F570FA17" ma:contentTypeVersion="0" ma:contentTypeDescription="Create a new document." ma:contentTypeScope="" ma:versionID="963a0739ce896353d9ec4db3ca413c02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BAF3D58-F44E-4CA1-B4BE-284EAE19A1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F0607F8-2E16-4F62-9E11-465FDA204F6D}">
  <ds:schemaRefs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3A52EED-A6EF-4705-95F8-774820E4CFB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3 10 19 - NEW Fujitsu-Forum-2013-PowerPoint-TEMPLATE</Template>
  <TotalTime>1486</TotalTime>
  <Words>1207</Words>
  <Application>Microsoft Office PowerPoint</Application>
  <PresentationFormat>On-screen Show (16:9)</PresentationFormat>
  <Paragraphs>420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ＭＳ Ｐゴシック</vt:lpstr>
      <vt:lpstr>MS UI Gothic</vt:lpstr>
      <vt:lpstr>Arial</vt:lpstr>
      <vt:lpstr>Calibri</vt:lpstr>
      <vt:lpstr>Fujitsu Sans</vt:lpstr>
      <vt:lpstr>Wingdings</vt:lpstr>
      <vt:lpstr>Wingdings 3</vt:lpstr>
      <vt:lpstr>2013 10 19 - NEW Fujitsu-Forum-2013-PowerPoint-TEMPLATE</vt:lpstr>
      <vt:lpstr>Master-16-9-RED-FTS Public</vt:lpstr>
      <vt:lpstr>Master-16-9-RED-FTS Graphical Examples</vt:lpstr>
      <vt:lpstr>think-cell Folie</vt:lpstr>
      <vt:lpstr>Uudistunut Fujitsun SELECT Partner -kumppaniohjelma Osaamista ja hyötyjä</vt:lpstr>
      <vt:lpstr>SELECT Partner -ohjelman rakenne </vt:lpstr>
      <vt:lpstr>Neljä erikoistumispolkua</vt:lpstr>
      <vt:lpstr>Helppoa, joustavaa, järkevää</vt:lpstr>
      <vt:lpstr> Kannettavat &amp; tabletit (Mobility Solutions)</vt:lpstr>
      <vt:lpstr> Tehotyöasemat (Workstations)</vt:lpstr>
      <vt:lpstr>Palvelinjärjestelmät (perustaso – vaihtoehto 1)</vt:lpstr>
      <vt:lpstr>Palvelinjärjestelmät (konesaliratkaisut – vaihtoehto 2)</vt:lpstr>
      <vt:lpstr> Tallennusjärjestelmät (vaihtoehto 1)</vt:lpstr>
      <vt:lpstr> Varmistusratkaisut (vaihtoehto 2)</vt:lpstr>
      <vt:lpstr>Miksi sertifioitua Fujitsu Select –kumppaniksi?</vt:lpstr>
      <vt:lpstr>PowerPoint Presentation</vt:lpstr>
    </vt:vector>
  </TitlesOfParts>
  <Company>Fujitsu Technology Solution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40520_v5_FF14_BOS</dc:title>
  <dc:creator>eleni.tassopoulou@ts.fujitsu.com</dc:creator>
  <cp:lastModifiedBy>Vesa Jaana</cp:lastModifiedBy>
  <cp:revision>1124</cp:revision>
  <dcterms:created xsi:type="dcterms:W3CDTF">2013-11-25T16:07:54Z</dcterms:created>
  <dcterms:modified xsi:type="dcterms:W3CDTF">2016-06-06T05:1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02052012-002</vt:lpwstr>
  </property>
  <property fmtid="{D5CDD505-2E9C-101B-9397-08002B2CF9AE}" pid="3" name="ContentTypeId">
    <vt:lpwstr>0x010100FCB8F524702DB348A7553F34F570FA17</vt:lpwstr>
  </property>
  <property fmtid="{D5CDD505-2E9C-101B-9397-08002B2CF9AE}" pid="5" name="_NewReviewCycle">
    <vt:lpwstr/>
  </property>
</Properties>
</file>